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4"/>
    <p:sldMasterId id="2147483666" r:id="rId5"/>
    <p:sldMasterId id="2147483665" r:id="rId6"/>
  </p:sldMasterIdLst>
  <p:notesMasterIdLst>
    <p:notesMasterId r:id="rId15"/>
  </p:notesMasterIdLst>
  <p:handoutMasterIdLst>
    <p:handoutMasterId r:id="rId16"/>
  </p:handoutMasterIdLst>
  <p:sldIdLst>
    <p:sldId id="256" r:id="rId7"/>
    <p:sldId id="344" r:id="rId8"/>
    <p:sldId id="471" r:id="rId9"/>
    <p:sldId id="487" r:id="rId10"/>
    <p:sldId id="488" r:id="rId11"/>
    <p:sldId id="482" r:id="rId12"/>
    <p:sldId id="484" r:id="rId13"/>
    <p:sldId id="486" r:id="rId14"/>
  </p:sldIdLst>
  <p:sldSz cx="13442950" cy="7561263"/>
  <p:notesSz cx="7104063" cy="10234613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518A6DE0-5A07-4B92-AB0B-CBE40F1E12B0}">
          <p14:sldIdLst>
            <p14:sldId id="256"/>
          </p14:sldIdLst>
        </p14:section>
        <p14:section name="Seção sem Título" id="{B25D74AB-31B5-4A84-9E5B-036A4CD24A72}">
          <p14:sldIdLst>
            <p14:sldId id="344"/>
            <p14:sldId id="471"/>
            <p14:sldId id="487"/>
            <p14:sldId id="488"/>
            <p14:sldId id="482"/>
            <p14:sldId id="484"/>
            <p14:sldId id="48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382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3746"/>
    <a:srgbClr val="32B9CD"/>
    <a:srgbClr val="292C34"/>
    <a:srgbClr val="272A30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823099-46A7-4167-ACCC-148691D9D4C5}" v="2" dt="2020-08-25T20:02:37.7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howGuides="1">
      <p:cViewPr>
        <p:scale>
          <a:sx n="75" d="100"/>
          <a:sy n="75" d="100"/>
        </p:scale>
        <p:origin x="30" y="774"/>
      </p:cViewPr>
      <p:guideLst>
        <p:guide orient="horz" pos="2382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 Barreira" userId="7fd0970c-b3cf-41cb-97a8-b008d4ec6ec9" providerId="ADAL" clId="{7E823099-46A7-4167-ACCC-148691D9D4C5}"/>
    <pc:docChg chg="undo custSel addSld delSld modSld modSection">
      <pc:chgData name="Alex Barreira" userId="7fd0970c-b3cf-41cb-97a8-b008d4ec6ec9" providerId="ADAL" clId="{7E823099-46A7-4167-ACCC-148691D9D4C5}" dt="2020-08-25T20:05:55.156" v="295" actId="14100"/>
      <pc:docMkLst>
        <pc:docMk/>
      </pc:docMkLst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3165050812" sldId="279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1918936745" sldId="284"/>
        </pc:sldMkLst>
      </pc:sldChg>
      <pc:sldChg chg="addSp delSp modSp mod modClrScheme chgLayout">
        <pc:chgData name="Alex Barreira" userId="7fd0970c-b3cf-41cb-97a8-b008d4ec6ec9" providerId="ADAL" clId="{7E823099-46A7-4167-ACCC-148691D9D4C5}" dt="2020-08-25T20:04:58.876" v="281" actId="20577"/>
        <pc:sldMkLst>
          <pc:docMk/>
          <pc:sldMk cId="948876888" sldId="344"/>
        </pc:sldMkLst>
        <pc:spChg chg="add mod ord">
          <ac:chgData name="Alex Barreira" userId="7fd0970c-b3cf-41cb-97a8-b008d4ec6ec9" providerId="ADAL" clId="{7E823099-46A7-4167-ACCC-148691D9D4C5}" dt="2020-08-25T20:03:11.259" v="120" actId="20577"/>
          <ac:spMkLst>
            <pc:docMk/>
            <pc:sldMk cId="948876888" sldId="344"/>
            <ac:spMk id="2" creationId="{E8B0A577-E3E3-4D35-AA82-89ED5D5451DD}"/>
          </ac:spMkLst>
        </pc:spChg>
        <pc:spChg chg="del mod">
          <ac:chgData name="Alex Barreira" userId="7fd0970c-b3cf-41cb-97a8-b008d4ec6ec9" providerId="ADAL" clId="{7E823099-46A7-4167-ACCC-148691D9D4C5}" dt="2020-08-25T20:03:00.369" v="80" actId="478"/>
          <ac:spMkLst>
            <pc:docMk/>
            <pc:sldMk cId="948876888" sldId="344"/>
            <ac:spMk id="3" creationId="{00000000-0000-0000-0000-000000000000}"/>
          </ac:spMkLst>
        </pc:spChg>
        <pc:spChg chg="add mod ord">
          <ac:chgData name="Alex Barreira" userId="7fd0970c-b3cf-41cb-97a8-b008d4ec6ec9" providerId="ADAL" clId="{7E823099-46A7-4167-ACCC-148691D9D4C5}" dt="2020-08-25T20:04:58.876" v="281" actId="20577"/>
          <ac:spMkLst>
            <pc:docMk/>
            <pc:sldMk cId="948876888" sldId="344"/>
            <ac:spMk id="4" creationId="{C3037102-7C2A-48BA-B19A-E0AB7B0EF163}"/>
          </ac:spMkLst>
        </pc:spChg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3512734678" sldId="345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2372785582" sldId="418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2707575184" sldId="419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3062672438" sldId="432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1361284261" sldId="436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1982573965" sldId="440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1086979068" sldId="441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3930118019" sldId="442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4124287145" sldId="443"/>
        </pc:sldMkLst>
      </pc:sldChg>
      <pc:sldChg chg="modSp add mod">
        <pc:chgData name="Alex Barreira" userId="7fd0970c-b3cf-41cb-97a8-b008d4ec6ec9" providerId="ADAL" clId="{7E823099-46A7-4167-ACCC-148691D9D4C5}" dt="2020-08-25T20:05:55.156" v="295" actId="14100"/>
        <pc:sldMkLst>
          <pc:docMk/>
          <pc:sldMk cId="2008643402" sldId="471"/>
        </pc:sldMkLst>
        <pc:spChg chg="mod">
          <ac:chgData name="Alex Barreira" userId="7fd0970c-b3cf-41cb-97a8-b008d4ec6ec9" providerId="ADAL" clId="{7E823099-46A7-4167-ACCC-148691D9D4C5}" dt="2020-08-25T20:05:17.393" v="283" actId="120"/>
          <ac:spMkLst>
            <pc:docMk/>
            <pc:sldMk cId="2008643402" sldId="471"/>
            <ac:spMk id="3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6" creationId="{70825C6F-9257-4CF5-8C62-1CA1EB2F8815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7" creationId="{DD175998-7BC4-48E7-B48B-3AD3DB555BC2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8" creationId="{5CE7D08C-795B-4BF1-97F6-F9773F4E9F4C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9" creationId="{B60B13C9-0C70-4C0F-82B2-D0CD4FDFC1F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10" creationId="{2C0D7151-D7C4-4C3E-8608-61515AFD4BD7}"/>
          </ac:spMkLst>
        </pc:spChg>
        <pc:spChg chg="mod">
          <ac:chgData name="Alex Barreira" userId="7fd0970c-b3cf-41cb-97a8-b008d4ec6ec9" providerId="ADAL" clId="{7E823099-46A7-4167-ACCC-148691D9D4C5}" dt="2020-08-25T20:05:55.156" v="295" actId="14100"/>
          <ac:spMkLst>
            <pc:docMk/>
            <pc:sldMk cId="2008643402" sldId="471"/>
            <ac:spMk id="73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78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80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82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84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86" creationId="{00000000-0000-0000-0000-000000000000}"/>
          </ac:spMkLst>
        </pc:spChg>
        <pc:grpChg chg="mod">
          <ac:chgData name="Alex Barreira" userId="7fd0970c-b3cf-41cb-97a8-b008d4ec6ec9" providerId="ADAL" clId="{7E823099-46A7-4167-ACCC-148691D9D4C5}" dt="2020-08-25T20:05:35.657" v="292" actId="1037"/>
          <ac:grpSpMkLst>
            <pc:docMk/>
            <pc:sldMk cId="2008643402" sldId="471"/>
            <ac:grpSpMk id="77" creationId="{00000000-0000-0000-0000-000000000000}"/>
          </ac:grpSpMkLst>
        </pc:grpChg>
        <pc:grpChg chg="mod">
          <ac:chgData name="Alex Barreira" userId="7fd0970c-b3cf-41cb-97a8-b008d4ec6ec9" providerId="ADAL" clId="{7E823099-46A7-4167-ACCC-148691D9D4C5}" dt="2020-08-25T20:05:35.657" v="292" actId="1037"/>
          <ac:grpSpMkLst>
            <pc:docMk/>
            <pc:sldMk cId="2008643402" sldId="471"/>
            <ac:grpSpMk id="79" creationId="{00000000-0000-0000-0000-000000000000}"/>
          </ac:grpSpMkLst>
        </pc:grpChg>
        <pc:grpChg chg="mod">
          <ac:chgData name="Alex Barreira" userId="7fd0970c-b3cf-41cb-97a8-b008d4ec6ec9" providerId="ADAL" clId="{7E823099-46A7-4167-ACCC-148691D9D4C5}" dt="2020-08-25T20:05:35.657" v="292" actId="1037"/>
          <ac:grpSpMkLst>
            <pc:docMk/>
            <pc:sldMk cId="2008643402" sldId="471"/>
            <ac:grpSpMk id="81" creationId="{00000000-0000-0000-0000-000000000000}"/>
          </ac:grpSpMkLst>
        </pc:grpChg>
        <pc:grpChg chg="mod">
          <ac:chgData name="Alex Barreira" userId="7fd0970c-b3cf-41cb-97a8-b008d4ec6ec9" providerId="ADAL" clId="{7E823099-46A7-4167-ACCC-148691D9D4C5}" dt="2020-08-25T20:05:35.657" v="292" actId="1037"/>
          <ac:grpSpMkLst>
            <pc:docMk/>
            <pc:sldMk cId="2008643402" sldId="471"/>
            <ac:grpSpMk id="83" creationId="{00000000-0000-0000-0000-000000000000}"/>
          </ac:grpSpMkLst>
        </pc:grpChg>
        <pc:grpChg chg="mod">
          <ac:chgData name="Alex Barreira" userId="7fd0970c-b3cf-41cb-97a8-b008d4ec6ec9" providerId="ADAL" clId="{7E823099-46A7-4167-ACCC-148691D9D4C5}" dt="2020-08-25T20:05:35.657" v="292" actId="1037"/>
          <ac:grpSpMkLst>
            <pc:docMk/>
            <pc:sldMk cId="2008643402" sldId="471"/>
            <ac:grpSpMk id="85" creationId="{00000000-0000-0000-0000-000000000000}"/>
          </ac:grpSpMkLst>
        </pc:grpChg>
      </pc:sldChg>
      <pc:sldChg chg="add">
        <pc:chgData name="Alex Barreira" userId="7fd0970c-b3cf-41cb-97a8-b008d4ec6ec9" providerId="ADAL" clId="{7E823099-46A7-4167-ACCC-148691D9D4C5}" dt="2020-08-25T20:01:20.145" v="1"/>
        <pc:sldMkLst>
          <pc:docMk/>
          <pc:sldMk cId="3103146409" sldId="482"/>
        </pc:sldMkLst>
      </pc:sldChg>
      <pc:sldChg chg="add">
        <pc:chgData name="Alex Barreira" userId="7fd0970c-b3cf-41cb-97a8-b008d4ec6ec9" providerId="ADAL" clId="{7E823099-46A7-4167-ACCC-148691D9D4C5}" dt="2020-08-25T20:01:20.145" v="1"/>
        <pc:sldMkLst>
          <pc:docMk/>
          <pc:sldMk cId="671586173" sldId="484"/>
        </pc:sldMkLst>
      </pc:sldChg>
      <pc:sldChg chg="add">
        <pc:chgData name="Alex Barreira" userId="7fd0970c-b3cf-41cb-97a8-b008d4ec6ec9" providerId="ADAL" clId="{7E823099-46A7-4167-ACCC-148691D9D4C5}" dt="2020-08-25T20:01:20.145" v="1"/>
        <pc:sldMkLst>
          <pc:docMk/>
          <pc:sldMk cId="2606422970" sldId="486"/>
        </pc:sldMkLst>
      </pc:sldChg>
      <pc:sldChg chg="add">
        <pc:chgData name="Alex Barreira" userId="7fd0970c-b3cf-41cb-97a8-b008d4ec6ec9" providerId="ADAL" clId="{7E823099-46A7-4167-ACCC-148691D9D4C5}" dt="2020-08-25T20:01:20.145" v="1"/>
        <pc:sldMkLst>
          <pc:docMk/>
          <pc:sldMk cId="1936218586" sldId="487"/>
        </pc:sldMkLst>
      </pc:sldChg>
      <pc:sldChg chg="add">
        <pc:chgData name="Alex Barreira" userId="7fd0970c-b3cf-41cb-97a8-b008d4ec6ec9" providerId="ADAL" clId="{7E823099-46A7-4167-ACCC-148691D9D4C5}" dt="2020-08-25T20:01:20.145" v="1"/>
        <pc:sldMkLst>
          <pc:docMk/>
          <pc:sldMk cId="1935154534" sldId="488"/>
        </pc:sldMkLst>
      </pc:sldChg>
      <pc:sldChg chg="new del">
        <pc:chgData name="Alex Barreira" userId="7fd0970c-b3cf-41cb-97a8-b008d4ec6ec9" providerId="ADAL" clId="{7E823099-46A7-4167-ACCC-148691D9D4C5}" dt="2020-08-25T20:05:11.190" v="282" actId="47"/>
        <pc:sldMkLst>
          <pc:docMk/>
          <pc:sldMk cId="3110969077" sldId="489"/>
        </pc:sldMkLst>
      </pc:sldChg>
      <pc:sldChg chg="add del">
        <pc:chgData name="Alex Barreira" userId="7fd0970c-b3cf-41cb-97a8-b008d4ec6ec9" providerId="ADAL" clId="{7E823099-46A7-4167-ACCC-148691D9D4C5}" dt="2020-08-25T20:02:40.323" v="78" actId="47"/>
        <pc:sldMkLst>
          <pc:docMk/>
          <pc:sldMk cId="918598423" sldId="490"/>
        </pc:sldMkLst>
      </pc:sldChg>
      <pc:sldChg chg="new del">
        <pc:chgData name="Alex Barreira" userId="7fd0970c-b3cf-41cb-97a8-b008d4ec6ec9" providerId="ADAL" clId="{7E823099-46A7-4167-ACCC-148691D9D4C5}" dt="2020-08-25T20:04:15.801" v="248" actId="47"/>
        <pc:sldMkLst>
          <pc:docMk/>
          <pc:sldMk cId="4073518245" sldId="490"/>
        </pc:sldMkLst>
      </pc:sldChg>
      <pc:sldMasterChg chg="delSldLayout">
        <pc:chgData name="Alex Barreira" userId="7fd0970c-b3cf-41cb-97a8-b008d4ec6ec9" providerId="ADAL" clId="{7E823099-46A7-4167-ACCC-148691D9D4C5}" dt="2020-08-25T20:00:58.566" v="0" actId="47"/>
        <pc:sldMasterMkLst>
          <pc:docMk/>
          <pc:sldMasterMk cId="0" sldId="2147483656"/>
        </pc:sldMasterMkLst>
        <pc:sldLayoutChg chg="del">
          <pc:chgData name="Alex Barreira" userId="7fd0970c-b3cf-41cb-97a8-b008d4ec6ec9" providerId="ADAL" clId="{7E823099-46A7-4167-ACCC-148691D9D4C5}" dt="2020-08-25T20:00:58.566" v="0" actId="47"/>
          <pc:sldLayoutMkLst>
            <pc:docMk/>
            <pc:sldMasterMk cId="0" sldId="2147483656"/>
            <pc:sldLayoutMk cId="3154182865" sldId="2147483667"/>
          </pc:sldLayoutMkLst>
        </pc:sldLayoutChg>
        <pc:sldLayoutChg chg="del">
          <pc:chgData name="Alex Barreira" userId="7fd0970c-b3cf-41cb-97a8-b008d4ec6ec9" providerId="ADAL" clId="{7E823099-46A7-4167-ACCC-148691D9D4C5}" dt="2020-08-25T20:00:58.566" v="0" actId="47"/>
          <pc:sldLayoutMkLst>
            <pc:docMk/>
            <pc:sldMasterMk cId="0" sldId="2147483656"/>
            <pc:sldLayoutMk cId="3084922465" sldId="2147483668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C3CD65D1-5C11-455D-9F9A-0E035F00A0DA}" type="datetimeFigureOut">
              <a:rPr lang="pt-BR" smtClean="0"/>
              <a:pPr/>
              <a:t>27/09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CA8E3B7C-E4AE-4E9E-8479-7C668141D48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05DA3EF-18EA-43DE-B1BB-402A3C558822}" type="datetimeFigureOut">
              <a:rPr lang="pt-BR" smtClean="0"/>
              <a:pPr/>
              <a:t>27/09/2020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41288" y="768350"/>
            <a:ext cx="6821487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vert="horz" lIns="99075" tIns="49538" rIns="99075" bIns="49538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5B3645A-D0AE-4F6E-A17E-E0036A9041AF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1372454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B3645A-D0AE-4F6E-A17E-E0036A9041AF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69924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>
                <a:solidFill>
                  <a:prstClr val="black"/>
                </a:solidFill>
              </a:rPr>
              <a:pPr/>
              <a:t>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6856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AB0DCC-3A9F-4D00-9FBC-15613DA710AD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271199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AB0DCC-3A9F-4D00-9FBC-15613DA710AD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95794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1029" name="Freeform 5"/>
          <p:cNvSpPr>
            <a:spLocks/>
          </p:cNvSpPr>
          <p:nvPr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2937" y="2990549"/>
            <a:ext cx="5437077" cy="161161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215431" cy="1750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431" cy="17503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600699" y="61263"/>
            <a:ext cx="12154667" cy="593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19138" tIns="59570" rIns="119138" bIns="59570" anchor="ctr"/>
          <a:lstStyle/>
          <a:p>
            <a:pPr defTabSz="124519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3087">
              <a:solidFill>
                <a:prstClr val="black"/>
              </a:solidFill>
              <a:cs typeface="Tahoma" pitchFamily="34" charset="0"/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228360" y="1324973"/>
            <a:ext cx="12936686" cy="316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446781" indent="-446781" defTabSz="1245197" eaLnBrk="0" fontAlgn="base" hangingPunct="0"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FontTx/>
              <a:buChar char="•"/>
              <a:defRPr/>
            </a:pPr>
            <a:endParaRPr lang="pt-BR" sz="2058">
              <a:solidFill>
                <a:prstClr val="black"/>
              </a:solidFill>
              <a:latin typeface="Lucida Sans Unicode" pitchFamily="34" charset="0"/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title" hasCustomPrompt="1"/>
            <p:custDataLst>
              <p:tags r:id="rId5"/>
            </p:custDataLst>
          </p:nvPr>
        </p:nvSpPr>
        <p:spPr bwMode="auto">
          <a:xfrm>
            <a:off x="261229" y="23032"/>
            <a:ext cx="12154667" cy="422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1043" tIns="40522" rIns="81043" bIns="40522" numCol="1" anchor="ctr" anchorCtr="0" compatLnSpc="1">
            <a:prstTxWarp prst="textNoShape">
              <a:avLst/>
            </a:prstTxWarp>
          </a:bodyPr>
          <a:lstStyle>
            <a:lvl1pPr algn="l" defTabSz="1213525" rtl="0" fontAlgn="base">
              <a:spcBef>
                <a:spcPct val="0"/>
              </a:spcBef>
              <a:spcAft>
                <a:spcPct val="0"/>
              </a:spcAft>
              <a:defRPr lang="pt-BR" sz="1764" b="0" i="0" kern="1200" baseline="0" dirty="0" smtClean="0">
                <a:solidFill>
                  <a:srgbClr val="A02BFF"/>
                </a:solidFill>
                <a:latin typeface="Simplon BP Bold" pitchFamily="2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pt-BR" dirty="0"/>
              <a:t>CLIQUE PARA EDITAR O ESTILO DO TÍTULO MESTRE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0"/>
            <p:custDataLst>
              <p:tags r:id="rId6"/>
            </p:custDataLst>
          </p:nvPr>
        </p:nvSpPr>
        <p:spPr>
          <a:xfrm>
            <a:off x="390148" y="444575"/>
            <a:ext cx="12074195" cy="2940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pt-BR" sz="1911" b="0" kern="1200" baseline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+mj-cs"/>
              </a:defRPr>
            </a:lvl1pPr>
            <a:lvl2pPr marL="2068" indent="0">
              <a:buNone/>
              <a:defRPr/>
            </a:lvl2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2" name="Slide Number Placeholder 1"/>
          <p:cNvSpPr txBox="1">
            <a:spLocks/>
          </p:cNvSpPr>
          <p:nvPr userDrawn="1"/>
        </p:nvSpPr>
        <p:spPr bwMode="auto">
          <a:xfrm>
            <a:off x="12979487" y="7251315"/>
            <a:ext cx="676815" cy="403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9543D946-5134-1748-A050-11636790511E}" type="slidenum">
              <a:rPr lang="en-US" sz="1617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1617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9907816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74910" y="392971"/>
            <a:ext cx="7592995" cy="28594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5292"/>
              </a:lnSpc>
              <a:defRPr sz="5292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LOREM IPSUM DOLOR SIT AMET HAS ID CIBO QUIDAM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721447" y="6871717"/>
            <a:ext cx="3138663" cy="40256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70" baseline="0">
                <a:solidFill>
                  <a:srgbClr val="4D4D4D"/>
                </a:solidFill>
              </a:defRPr>
            </a:lvl1pPr>
          </a:lstStyle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74909" y="3455786"/>
            <a:ext cx="7592995" cy="895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672130" rtl="0" eaLnBrk="1" fontAlgn="auto" latinLnBrk="0" hangingPunct="1">
              <a:lnSpc>
                <a:spcPts val="205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58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672130" rtl="0" eaLnBrk="1" fontAlgn="auto" latinLnBrk="0" hangingPunct="1">
              <a:lnSpc>
                <a:spcPts val="205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672130" rtl="0" eaLnBrk="1" fontAlgn="auto" latinLnBrk="0" hangingPunct="1">
              <a:lnSpc>
                <a:spcPts val="205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2222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828982" y="1331914"/>
            <a:ext cx="8779933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70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1" y="1"/>
            <a:ext cx="240142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829885" y="108224"/>
            <a:ext cx="10137686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000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19" y="166075"/>
            <a:ext cx="168719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48" y="1692534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Exo 2" pitchFamily="50" charset="0"/>
              </a:defRPr>
            </a:lvl1pPr>
            <a:lvl2pPr marL="521528" indent="0">
              <a:buNone/>
              <a:defRPr sz="2300" b="1"/>
            </a:lvl2pPr>
            <a:lvl3pPr marL="1043056" indent="0">
              <a:buNone/>
              <a:defRPr sz="2100" b="1"/>
            </a:lvl3pPr>
            <a:lvl4pPr marL="1564584" indent="0">
              <a:buNone/>
              <a:defRPr sz="1800" b="1"/>
            </a:lvl4pPr>
            <a:lvl5pPr marL="2086112" indent="0">
              <a:buNone/>
              <a:defRPr sz="1800" b="1"/>
            </a:lvl5pPr>
            <a:lvl6pPr marL="2607640" indent="0">
              <a:buNone/>
              <a:defRPr sz="1800" b="1"/>
            </a:lvl6pPr>
            <a:lvl7pPr marL="3129168" indent="0">
              <a:buNone/>
              <a:defRPr sz="1800" b="1"/>
            </a:lvl7pPr>
            <a:lvl8pPr marL="3650696" indent="0">
              <a:buNone/>
              <a:defRPr sz="1800" b="1"/>
            </a:lvl8pPr>
            <a:lvl9pPr marL="4172224" indent="0">
              <a:buNone/>
              <a:defRPr sz="18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48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2700">
                <a:latin typeface="Exo 2" pitchFamily="50" charset="0"/>
              </a:defRPr>
            </a:lvl1pPr>
            <a:lvl2pPr>
              <a:defRPr sz="2300">
                <a:latin typeface="Exo 2" pitchFamily="50" charset="0"/>
              </a:defRPr>
            </a:lvl2pPr>
            <a:lvl3pPr>
              <a:defRPr sz="2100">
                <a:latin typeface="Exo 2" pitchFamily="50" charset="0"/>
              </a:defRPr>
            </a:lvl3pPr>
            <a:lvl4pPr>
              <a:defRPr sz="1800">
                <a:latin typeface="Exo 2" pitchFamily="50" charset="0"/>
              </a:defRPr>
            </a:lvl4pPr>
            <a:lvl5pPr>
              <a:defRPr sz="1800">
                <a:latin typeface="Exo 2" pitchFamily="50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4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Exo 2" pitchFamily="50" charset="0"/>
              </a:defRPr>
            </a:lvl1pPr>
            <a:lvl2pPr marL="521528" indent="0">
              <a:buNone/>
              <a:defRPr sz="2300" b="1"/>
            </a:lvl2pPr>
            <a:lvl3pPr marL="1043056" indent="0">
              <a:buNone/>
              <a:defRPr sz="2100" b="1"/>
            </a:lvl3pPr>
            <a:lvl4pPr marL="1564584" indent="0">
              <a:buNone/>
              <a:defRPr sz="1800" b="1"/>
            </a:lvl4pPr>
            <a:lvl5pPr marL="2086112" indent="0">
              <a:buNone/>
              <a:defRPr sz="1800" b="1"/>
            </a:lvl5pPr>
            <a:lvl6pPr marL="2607640" indent="0">
              <a:buNone/>
              <a:defRPr sz="1800" b="1"/>
            </a:lvl6pPr>
            <a:lvl7pPr marL="3129168" indent="0">
              <a:buNone/>
              <a:defRPr sz="1800" b="1"/>
            </a:lvl7pPr>
            <a:lvl8pPr marL="3650696" indent="0">
              <a:buNone/>
              <a:defRPr sz="1800" b="1"/>
            </a:lvl8pPr>
            <a:lvl9pPr marL="4172224" indent="0">
              <a:buNone/>
              <a:defRPr sz="18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2700">
                <a:latin typeface="Exo 2" pitchFamily="50" charset="0"/>
              </a:defRPr>
            </a:lvl1pPr>
            <a:lvl2pPr>
              <a:defRPr sz="2300">
                <a:latin typeface="Exo 2" pitchFamily="50" charset="0"/>
              </a:defRPr>
            </a:lvl2pPr>
            <a:lvl3pPr>
              <a:defRPr sz="2100">
                <a:latin typeface="Exo 2" pitchFamily="50" charset="0"/>
              </a:defRPr>
            </a:lvl3pPr>
            <a:lvl4pPr>
              <a:defRPr sz="1800">
                <a:latin typeface="Exo 2" pitchFamily="50" charset="0"/>
              </a:defRPr>
            </a:lvl4pPr>
            <a:lvl5pPr>
              <a:defRPr sz="1800">
                <a:latin typeface="Exo 2" pitchFamily="50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1" y="1"/>
            <a:ext cx="240142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829885" y="108224"/>
            <a:ext cx="10137686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000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200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700" dirty="0"/>
          </a:p>
        </p:txBody>
      </p:sp>
      <p:pic>
        <p:nvPicPr>
          <p:cNvPr id="15" name="Imagem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19" y="166075"/>
            <a:ext cx="168719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1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1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19" y="1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3" y="1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26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26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005782" y="2397403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7082695" y="594042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aseline="0">
                <a:solidFill>
                  <a:srgbClr val="32B9CD"/>
                </a:solidFill>
              </a:defRPr>
            </a:lvl1pPr>
            <a:lvl2pPr>
              <a:buNone/>
              <a:defRPr sz="1600">
                <a:solidFill>
                  <a:srgbClr val="32B9CD"/>
                </a:solidFill>
              </a:defRPr>
            </a:lvl2pPr>
            <a:lvl3pPr>
              <a:buNone/>
              <a:defRPr sz="1400">
                <a:solidFill>
                  <a:srgbClr val="32B9CD"/>
                </a:solidFill>
              </a:defRPr>
            </a:lvl3pPr>
            <a:lvl4pPr>
              <a:buNone/>
              <a:defRPr sz="1200">
                <a:solidFill>
                  <a:srgbClr val="32B9CD"/>
                </a:solidFill>
              </a:defRPr>
            </a:lvl4pPr>
            <a:lvl5pPr>
              <a:buNone/>
              <a:defRPr sz="1200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5257" y="6045645"/>
            <a:ext cx="3002349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1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1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19" y="1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3" y="1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26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26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39443" y="2397403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4042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aseline="0">
                <a:solidFill>
                  <a:srgbClr val="32B9CD"/>
                </a:solidFill>
              </a:defRPr>
            </a:lvl1pPr>
            <a:lvl2pPr>
              <a:buNone/>
              <a:defRPr sz="1600">
                <a:solidFill>
                  <a:srgbClr val="32B9CD"/>
                </a:solidFill>
              </a:defRPr>
            </a:lvl2pPr>
            <a:lvl3pPr>
              <a:buNone/>
              <a:defRPr sz="1400">
                <a:solidFill>
                  <a:srgbClr val="32B9CD"/>
                </a:solidFill>
              </a:defRPr>
            </a:lvl3pPr>
            <a:lvl4pPr>
              <a:buNone/>
              <a:defRPr sz="1200">
                <a:solidFill>
                  <a:srgbClr val="32B9CD"/>
                </a:solidFill>
              </a:defRPr>
            </a:lvl4pPr>
            <a:lvl5pPr>
              <a:buNone/>
              <a:defRPr sz="1200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5986" y="6142225"/>
            <a:ext cx="2440941" cy="72352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 userDrawn="1"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1029" name="Freeform 5"/>
          <p:cNvSpPr>
            <a:spLocks/>
          </p:cNvSpPr>
          <p:nvPr userDrawn="1"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IMAGEM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2053" name="Freeform 5"/>
          <p:cNvSpPr>
            <a:spLocks noEditPoints="1"/>
          </p:cNvSpPr>
          <p:nvPr/>
        </p:nvSpPr>
        <p:spPr bwMode="auto">
          <a:xfrm>
            <a:off x="6917053" y="1589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4" name="Freeform 6"/>
          <p:cNvSpPr>
            <a:spLocks/>
          </p:cNvSpPr>
          <p:nvPr/>
        </p:nvSpPr>
        <p:spPr bwMode="auto">
          <a:xfrm>
            <a:off x="0" y="1589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5" name="Freeform 7"/>
          <p:cNvSpPr>
            <a:spLocks/>
          </p:cNvSpPr>
          <p:nvPr/>
        </p:nvSpPr>
        <p:spPr bwMode="auto">
          <a:xfrm>
            <a:off x="7156695" y="4237039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0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7" y="1404368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7" y="4212680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título e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135473" y="1404368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135473" y="4212680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/>
        </p:nvSpPr>
        <p:spPr bwMode="auto">
          <a:xfrm>
            <a:off x="-9916" y="1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3078" name="Freeform 6"/>
          <p:cNvSpPr>
            <a:spLocks/>
          </p:cNvSpPr>
          <p:nvPr/>
        </p:nvSpPr>
        <p:spPr bwMode="auto">
          <a:xfrm>
            <a:off x="5783503" y="1927226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1883" y="2138328"/>
            <a:ext cx="2263663" cy="670977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2937" y="2990549"/>
            <a:ext cx="5437077" cy="161161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Título e Subtítul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6552892" y="2412480"/>
            <a:ext cx="6324155" cy="1801763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6552892" y="4212680"/>
            <a:ext cx="6324155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 userDrawn="1"/>
        </p:nvSpPr>
        <p:spPr bwMode="auto">
          <a:xfrm>
            <a:off x="-2240314" y="1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3078" name="Freeform 6"/>
          <p:cNvSpPr>
            <a:spLocks/>
          </p:cNvSpPr>
          <p:nvPr userDrawn="1"/>
        </p:nvSpPr>
        <p:spPr bwMode="auto">
          <a:xfrm>
            <a:off x="3553105" y="1927226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6313" y="1591737"/>
            <a:ext cx="2263663" cy="6709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IMAGEM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Freeform 5"/>
          <p:cNvSpPr>
            <a:spLocks noEditPoints="1"/>
          </p:cNvSpPr>
          <p:nvPr userDrawn="1"/>
        </p:nvSpPr>
        <p:spPr bwMode="auto">
          <a:xfrm>
            <a:off x="6917053" y="1589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4" name="Freeform 6"/>
          <p:cNvSpPr>
            <a:spLocks/>
          </p:cNvSpPr>
          <p:nvPr userDrawn="1"/>
        </p:nvSpPr>
        <p:spPr bwMode="auto">
          <a:xfrm>
            <a:off x="0" y="1589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5" name="Freeform 7"/>
          <p:cNvSpPr>
            <a:spLocks/>
          </p:cNvSpPr>
          <p:nvPr userDrawn="1"/>
        </p:nvSpPr>
        <p:spPr bwMode="auto">
          <a:xfrm>
            <a:off x="7156695" y="4237039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0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rgbClr val="253746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7" y="1404368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7" y="4212680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72148" y="248200"/>
            <a:ext cx="12098655" cy="977831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8233"/>
              </a:lnSpc>
              <a:spcAft>
                <a:spcPct val="0"/>
              </a:spcAft>
            </a:pPr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770802" y="7189201"/>
            <a:ext cx="672148" cy="3175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7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2148" y="148850"/>
            <a:ext cx="5246360" cy="2506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64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endParaRPr lang="pt-BR" dirty="0">
              <a:solidFill>
                <a:srgbClr val="4D4E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5392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5" r:id="rId2"/>
    <p:sldLayoutId id="2147483658" r:id="rId3"/>
    <p:sldLayoutId id="2147483659" r:id="rId4"/>
    <p:sldLayoutId id="2147483663" r:id="rId5"/>
    <p:sldLayoutId id="2147483664" r:id="rId6"/>
    <p:sldLayoutId id="2147483651" r:id="rId7"/>
    <p:sldLayoutId id="2147483650" r:id="rId8"/>
    <p:sldLayoutId id="2147483667" r:id="rId9"/>
    <p:sldLayoutId id="2147483668" r:id="rId10"/>
    <p:sldLayoutId id="2147483669" r:id="rId11"/>
  </p:sldLayoutIdLst>
  <p:hf hdr="0" ftr="0" dt="0"/>
  <p:txStyles>
    <p:titleStyle>
      <a:lvl1pPr algn="ctr" defTabSz="1043056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146" indent="-391146" algn="l" defTabSz="1043056" rtl="0" eaLnBrk="1" latinLnBrk="0" hangingPunct="1">
        <a:spcBef>
          <a:spcPct val="20000"/>
        </a:spcBef>
        <a:buFont typeface="Arial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847483" indent="-325955" algn="l" defTabSz="1043056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82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348" indent="-260764" algn="l" defTabSz="1043056" rtl="0" eaLnBrk="1" latinLnBrk="0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876" indent="-260764" algn="l" defTabSz="1043056" rtl="0" eaLnBrk="1" latinLnBrk="0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8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0.xml"/><Relationship Id="rId7" Type="http://schemas.openxmlformats.org/officeDocument/2006/relationships/oleObject" Target="../embeddings/oleObject3.bin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architecture/solution-ideas/articles/ai-at-the-edge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architecture/solution-ideas/articles/ai-at-the-edge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xmlns="" id="{E8B0A577-E3E3-4D35-AA82-89ED5D5451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Reunião Semanal 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xmlns="" id="{C3037102-7C2A-48BA-B19A-E0AB7B0EF1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t-BR" dirty="0"/>
              <a:t>Status </a:t>
            </a:r>
            <a:r>
              <a:rPr lang="pt-BR" dirty="0" err="1"/>
              <a:t>Report</a:t>
            </a:r>
            <a:r>
              <a:rPr lang="pt-BR" dirty="0"/>
              <a:t> do Projeto </a:t>
            </a:r>
          </a:p>
          <a:p>
            <a:r>
              <a:rPr lang="pt-BR" dirty="0"/>
              <a:t>&lt; </a:t>
            </a:r>
            <a:r>
              <a:rPr lang="pt-BR" dirty="0" err="1" smtClean="0"/>
              <a:t>GOTravel</a:t>
            </a:r>
            <a:r>
              <a:rPr lang="pt-BR" dirty="0" smtClean="0"/>
              <a:t>!&gt; </a:t>
            </a:r>
            <a:endParaRPr lang="pt-BR" dirty="0"/>
          </a:p>
          <a:p>
            <a:r>
              <a:rPr lang="pt-BR" dirty="0"/>
              <a:t>Data: </a:t>
            </a:r>
            <a:r>
              <a:rPr lang="pt-BR" dirty="0" smtClean="0"/>
              <a:t>28</a:t>
            </a:r>
            <a:r>
              <a:rPr lang="pt-BR" dirty="0" smtClean="0"/>
              <a:t>/09/2020</a:t>
            </a:r>
          </a:p>
          <a:p>
            <a:r>
              <a:rPr lang="pt-BR" dirty="0" smtClean="0"/>
              <a:t>Professor</a:t>
            </a:r>
            <a:r>
              <a:rPr lang="pt-BR" dirty="0"/>
              <a:t>.: Alexander Barreira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488768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/>
          <p:cNvSpPr/>
          <p:nvPr/>
        </p:nvSpPr>
        <p:spPr>
          <a:xfrm>
            <a:off x="6804883" y="1106495"/>
            <a:ext cx="6209639" cy="223580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5844" rtlCol="0" anchor="t"/>
          <a:lstStyle/>
          <a:p>
            <a:pPr defTabSz="672130">
              <a:spcAft>
                <a:spcPts val="882"/>
              </a:spcAft>
            </a:pPr>
            <a:endParaRPr lang="pt-BR" sz="1470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9692" y="185232"/>
            <a:ext cx="12098020" cy="800352"/>
          </a:xfrm>
        </p:spPr>
        <p:txBody>
          <a:bodyPr vert="horz" wrap="square" lIns="105844" tIns="0" rIns="105844" bIns="0" numCol="1" anchor="t" anchorCtr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882"/>
              </a:spcAft>
            </a:pPr>
            <a:r>
              <a:rPr lang="en-US"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S</a:t>
            </a:r>
            <a:r>
              <a:rPr lang="en-US" sz="2646" dirty="0" smtClean="0">
                <a:solidFill>
                  <a:prstClr val="black"/>
                </a:solidFill>
                <a:latin typeface="Simplon Oi Headline"/>
                <a:cs typeface="Simplon Oi Headline"/>
              </a:rPr>
              <a:t>tatus </a:t>
            </a:r>
            <a:r>
              <a:rPr lang="en-US" sz="2646" dirty="0" err="1" smtClean="0">
                <a:solidFill>
                  <a:prstClr val="black"/>
                </a:solidFill>
                <a:latin typeface="Simplon Oi Headline"/>
                <a:cs typeface="Simplon Oi Headline"/>
              </a:rPr>
              <a:t>geral</a:t>
            </a:r>
            <a:r>
              <a:rPr lang="en-US" sz="2646" dirty="0" smtClean="0">
                <a:solidFill>
                  <a:prstClr val="black"/>
                </a:solidFill>
                <a:latin typeface="Simplon Oi Headline"/>
                <a:cs typeface="Simplon Oi Headline"/>
              </a:rPr>
              <a:t> – </a:t>
            </a:r>
            <a:r>
              <a:rPr lang="en-US" sz="2646" dirty="0" err="1" smtClean="0">
                <a:solidFill>
                  <a:prstClr val="black"/>
                </a:solidFill>
                <a:latin typeface="Simplon Oi Headline"/>
                <a:cs typeface="Simplon Oi Headline"/>
              </a:rPr>
              <a:t>GOTravel</a:t>
            </a:r>
            <a:r>
              <a:rPr lang="en-US" sz="2646" dirty="0" smtClean="0">
                <a:solidFill>
                  <a:prstClr val="black"/>
                </a:solidFill>
                <a:latin typeface="Simplon Oi Headline"/>
                <a:cs typeface="Simplon Oi Headline"/>
              </a:rPr>
              <a:t>!</a:t>
            </a:r>
            <a:endParaRPr lang="en-US" sz="2646" dirty="0">
              <a:solidFill>
                <a:prstClr val="black"/>
              </a:solidFill>
              <a:latin typeface="Simplon Oi Headline"/>
              <a:cs typeface="Simplon Oi Headline"/>
            </a:endParaRPr>
          </a:p>
        </p:txBody>
      </p:sp>
      <p:sp>
        <p:nvSpPr>
          <p:cNvPr id="73" name="Round Same Side Corner Rectangle 3"/>
          <p:cNvSpPr/>
          <p:nvPr/>
        </p:nvSpPr>
        <p:spPr>
          <a:xfrm rot="10800000">
            <a:off x="7873603" y="64321"/>
            <a:ext cx="5103602" cy="689698"/>
          </a:xfrm>
          <a:prstGeom prst="round2SameRect">
            <a:avLst>
              <a:gd name="adj1" fmla="val 1056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grpSp>
        <p:nvGrpSpPr>
          <p:cNvPr id="77" name="Group 9"/>
          <p:cNvGrpSpPr/>
          <p:nvPr/>
        </p:nvGrpSpPr>
        <p:grpSpPr>
          <a:xfrm>
            <a:off x="11822773" y="245656"/>
            <a:ext cx="899678" cy="316238"/>
            <a:chOff x="6694192" y="85799"/>
            <a:chExt cx="612000" cy="215119"/>
          </a:xfrm>
        </p:grpSpPr>
        <p:sp>
          <p:nvSpPr>
            <p:cNvPr id="111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3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8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78" name="TextBox 118"/>
          <p:cNvSpPr txBox="1"/>
          <p:nvPr/>
        </p:nvSpPr>
        <p:spPr>
          <a:xfrm>
            <a:off x="11822773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Documentação</a:t>
            </a:r>
          </a:p>
        </p:txBody>
      </p:sp>
      <p:grpSp>
        <p:nvGrpSpPr>
          <p:cNvPr id="79" name="Group 8"/>
          <p:cNvGrpSpPr/>
          <p:nvPr/>
        </p:nvGrpSpPr>
        <p:grpSpPr>
          <a:xfrm>
            <a:off x="10852497" y="245656"/>
            <a:ext cx="899678" cy="316238"/>
            <a:chOff x="6034168" y="85799"/>
            <a:chExt cx="612000" cy="215119"/>
          </a:xfrm>
        </p:grpSpPr>
        <p:sp>
          <p:nvSpPr>
            <p:cNvPr id="107" name="Rounded Rectangle 122"/>
            <p:cNvSpPr/>
            <p:nvPr/>
          </p:nvSpPr>
          <p:spPr>
            <a:xfrm>
              <a:off x="6034168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8" name="Oval 119"/>
            <p:cNvSpPr>
              <a:spLocks noChangeAspect="1"/>
            </p:cNvSpPr>
            <p:nvPr/>
          </p:nvSpPr>
          <p:spPr>
            <a:xfrm>
              <a:off x="6083150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9" name="Oval 120"/>
            <p:cNvSpPr>
              <a:spLocks noChangeAspect="1"/>
            </p:cNvSpPr>
            <p:nvPr/>
          </p:nvSpPr>
          <p:spPr>
            <a:xfrm>
              <a:off x="6266404" y="121358"/>
              <a:ext cx="143806" cy="144000"/>
            </a:xfrm>
            <a:prstGeom prst="ellipse">
              <a:avLst/>
            </a:prstGeom>
            <a:solidFill>
              <a:srgbClr val="FFC000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0" name="Oval 121"/>
            <p:cNvSpPr>
              <a:spLocks noChangeAspect="1"/>
            </p:cNvSpPr>
            <p:nvPr/>
          </p:nvSpPr>
          <p:spPr>
            <a:xfrm>
              <a:off x="6448497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0" name="TextBox 123"/>
          <p:cNvSpPr txBox="1"/>
          <p:nvPr/>
        </p:nvSpPr>
        <p:spPr>
          <a:xfrm>
            <a:off x="10852497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Plataforma</a:t>
            </a:r>
          </a:p>
        </p:txBody>
      </p:sp>
      <p:grpSp>
        <p:nvGrpSpPr>
          <p:cNvPr id="81" name="Group 7"/>
          <p:cNvGrpSpPr/>
          <p:nvPr/>
        </p:nvGrpSpPr>
        <p:grpSpPr>
          <a:xfrm>
            <a:off x="9891915" y="245656"/>
            <a:ext cx="899678" cy="316238"/>
            <a:chOff x="5380738" y="85799"/>
            <a:chExt cx="612000" cy="215119"/>
          </a:xfrm>
        </p:grpSpPr>
        <p:sp>
          <p:nvSpPr>
            <p:cNvPr id="103" name="Rounded Rectangle 127"/>
            <p:cNvSpPr/>
            <p:nvPr/>
          </p:nvSpPr>
          <p:spPr>
            <a:xfrm>
              <a:off x="5380738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4" name="Oval 124"/>
            <p:cNvSpPr>
              <a:spLocks noChangeAspect="1"/>
            </p:cNvSpPr>
            <p:nvPr/>
          </p:nvSpPr>
          <p:spPr>
            <a:xfrm>
              <a:off x="5429720" y="121358"/>
              <a:ext cx="143806" cy="144000"/>
            </a:xfrm>
            <a:prstGeom prst="ellipse">
              <a:avLst/>
            </a:prstGeom>
            <a:solidFill>
              <a:srgbClr val="1BCF1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5" name="Oval 125"/>
            <p:cNvSpPr>
              <a:spLocks noChangeAspect="1"/>
            </p:cNvSpPr>
            <p:nvPr/>
          </p:nvSpPr>
          <p:spPr>
            <a:xfrm>
              <a:off x="5612974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6" name="Oval 126"/>
            <p:cNvSpPr>
              <a:spLocks noChangeAspect="1"/>
            </p:cNvSpPr>
            <p:nvPr/>
          </p:nvSpPr>
          <p:spPr>
            <a:xfrm>
              <a:off x="5795067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2" name="TextBox 128"/>
          <p:cNvSpPr txBox="1"/>
          <p:nvPr/>
        </p:nvSpPr>
        <p:spPr>
          <a:xfrm>
            <a:off x="9891915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Back</a:t>
            </a:r>
          </a:p>
        </p:txBody>
      </p:sp>
      <p:grpSp>
        <p:nvGrpSpPr>
          <p:cNvPr id="83" name="Group 6"/>
          <p:cNvGrpSpPr/>
          <p:nvPr/>
        </p:nvGrpSpPr>
        <p:grpSpPr>
          <a:xfrm>
            <a:off x="8934246" y="245656"/>
            <a:ext cx="899678" cy="316238"/>
            <a:chOff x="4729290" y="85799"/>
            <a:chExt cx="612000" cy="215119"/>
          </a:xfrm>
        </p:grpSpPr>
        <p:sp>
          <p:nvSpPr>
            <p:cNvPr id="91" name="Rounded Rectangle 132"/>
            <p:cNvSpPr/>
            <p:nvPr/>
          </p:nvSpPr>
          <p:spPr>
            <a:xfrm>
              <a:off x="4729290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0" name="Oval 129"/>
            <p:cNvSpPr>
              <a:spLocks noChangeAspect="1"/>
            </p:cNvSpPr>
            <p:nvPr/>
          </p:nvSpPr>
          <p:spPr>
            <a:xfrm>
              <a:off x="4778272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2" name="Oval 131"/>
            <p:cNvSpPr>
              <a:spLocks noChangeAspect="1"/>
            </p:cNvSpPr>
            <p:nvPr/>
          </p:nvSpPr>
          <p:spPr>
            <a:xfrm>
              <a:off x="5143619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4" name="TextBox 133"/>
          <p:cNvSpPr txBox="1"/>
          <p:nvPr/>
        </p:nvSpPr>
        <p:spPr>
          <a:xfrm>
            <a:off x="8934246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Front</a:t>
            </a:r>
          </a:p>
        </p:txBody>
      </p:sp>
      <p:grpSp>
        <p:nvGrpSpPr>
          <p:cNvPr id="85" name="Group 5"/>
          <p:cNvGrpSpPr/>
          <p:nvPr/>
        </p:nvGrpSpPr>
        <p:grpSpPr>
          <a:xfrm>
            <a:off x="7970611" y="245656"/>
            <a:ext cx="899678" cy="316238"/>
            <a:chOff x="4073784" y="85799"/>
            <a:chExt cx="612000" cy="215119"/>
          </a:xfrm>
        </p:grpSpPr>
        <p:sp>
          <p:nvSpPr>
            <p:cNvPr id="87" name="Rounded Rectangle 137"/>
            <p:cNvSpPr/>
            <p:nvPr/>
          </p:nvSpPr>
          <p:spPr>
            <a:xfrm>
              <a:off x="4073784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88" name="Oval 134"/>
            <p:cNvSpPr>
              <a:spLocks noChangeAspect="1"/>
            </p:cNvSpPr>
            <p:nvPr/>
          </p:nvSpPr>
          <p:spPr>
            <a:xfrm>
              <a:off x="4122766" y="121358"/>
              <a:ext cx="143806" cy="144000"/>
            </a:xfrm>
            <a:prstGeom prst="ellipse">
              <a:avLst/>
            </a:prstGeom>
            <a:solidFill>
              <a:srgbClr val="1BCF1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89" name="Oval 135"/>
            <p:cNvSpPr>
              <a:spLocks noChangeAspect="1"/>
            </p:cNvSpPr>
            <p:nvPr/>
          </p:nvSpPr>
          <p:spPr>
            <a:xfrm>
              <a:off x="4306020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0" name="Oval 136"/>
            <p:cNvSpPr>
              <a:spLocks noChangeAspect="1"/>
            </p:cNvSpPr>
            <p:nvPr/>
          </p:nvSpPr>
          <p:spPr>
            <a:xfrm>
              <a:off x="4488113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6" name="TextBox 138"/>
          <p:cNvSpPr txBox="1"/>
          <p:nvPr/>
        </p:nvSpPr>
        <p:spPr>
          <a:xfrm>
            <a:off x="8015738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en-US" sz="1176" b="0" dirty="0" err="1">
                <a:solidFill>
                  <a:prstClr val="black"/>
                </a:solidFill>
                <a:latin typeface="Simplon BP Bold" pitchFamily="2" charset="0"/>
              </a:rPr>
              <a:t>Equipe</a:t>
            </a:r>
            <a:endParaRPr lang="en-US" sz="1176" b="0" dirty="0">
              <a:solidFill>
                <a:prstClr val="black"/>
              </a:solidFill>
              <a:latin typeface="Simplon BP Bold" pitchFamily="2" charset="0"/>
            </a:endParaRPr>
          </a:p>
        </p:txBody>
      </p:sp>
      <p:sp>
        <p:nvSpPr>
          <p:cNvPr id="64" name="Retângulo 63"/>
          <p:cNvSpPr/>
          <p:nvPr/>
        </p:nvSpPr>
        <p:spPr>
          <a:xfrm>
            <a:off x="512766" y="868345"/>
            <a:ext cx="6186608" cy="2381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4422" tIns="67211" rIns="134422" bIns="67211" rtlCol="0" anchor="ctr"/>
          <a:lstStyle/>
          <a:p>
            <a:pPr defTabSz="672130"/>
            <a:r>
              <a:rPr lang="en-US" sz="1544" dirty="0">
                <a:latin typeface="Simplon Oi Headline" charset="0"/>
                <a:ea typeface="Simplon Oi Headline" charset="0"/>
                <a:cs typeface="Simplon Oi Headline" charset="0"/>
              </a:rPr>
              <a:t>PROGRESSOS</a:t>
            </a:r>
            <a:endParaRPr lang="pt-BR" sz="1544" dirty="0"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5" name="Retângulo 64"/>
          <p:cNvSpPr/>
          <p:nvPr/>
        </p:nvSpPr>
        <p:spPr>
          <a:xfrm>
            <a:off x="6814576" y="868345"/>
            <a:ext cx="6194715" cy="2381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4422" tIns="67211" rIns="134422" bIns="67211" rtlCol="0" anchor="ctr"/>
          <a:lstStyle/>
          <a:p>
            <a:pPr defTabSz="672130"/>
            <a:r>
              <a:rPr lang="pt-BR" sz="1544" dirty="0">
                <a:latin typeface="Simplon Oi Headline" charset="0"/>
                <a:ea typeface="Simplon Oi Headline" charset="0"/>
                <a:cs typeface="Simplon Oi Headline" charset="0"/>
              </a:rPr>
              <a:t>Pontos atenção/ Principais Riscos</a:t>
            </a:r>
          </a:p>
        </p:txBody>
      </p:sp>
      <p:sp>
        <p:nvSpPr>
          <p:cNvPr id="66" name="Retângulo 65"/>
          <p:cNvSpPr/>
          <p:nvPr/>
        </p:nvSpPr>
        <p:spPr>
          <a:xfrm>
            <a:off x="507536" y="3418875"/>
            <a:ext cx="12505521" cy="2381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4422" tIns="67211" rIns="134422" bIns="67211" rtlCol="0" anchor="ctr"/>
          <a:lstStyle/>
          <a:p>
            <a:pPr defTabSz="672130"/>
            <a:r>
              <a:rPr lang="pt-BR" sz="1544" dirty="0">
                <a:latin typeface="Simplon Oi Headline" charset="0"/>
                <a:ea typeface="Simplon Oi Headline" charset="0"/>
                <a:cs typeface="Simplon Oi Headline" charset="0"/>
              </a:rPr>
              <a:t>Próximos Passos/ Decisões a tomar</a:t>
            </a:r>
          </a:p>
        </p:txBody>
      </p:sp>
      <p:sp>
        <p:nvSpPr>
          <p:cNvPr id="63" name="Rectangle 37"/>
          <p:cNvSpPr/>
          <p:nvPr/>
        </p:nvSpPr>
        <p:spPr>
          <a:xfrm>
            <a:off x="496765" y="1106495"/>
            <a:ext cx="6207777" cy="223580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5844" rtlCol="0" anchor="t"/>
          <a:lstStyle/>
          <a:p>
            <a:pPr fontAlgn="base">
              <a:spcBef>
                <a:spcPct val="0"/>
              </a:spcBef>
              <a:defRPr/>
            </a:pPr>
            <a:r>
              <a:rPr lang="pt-BR" sz="2000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O que foi superado na </a:t>
            </a:r>
            <a:r>
              <a:rPr lang="pt-BR" sz="2000" b="1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última </a:t>
            </a:r>
            <a:r>
              <a:rPr lang="pt-BR" sz="2000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semana 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b="1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Diagrama de classe concluído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b="1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Iniciado a aplicação Java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b="1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Iniciado o desenvolvimento das telas em </a:t>
            </a:r>
            <a:r>
              <a:rPr lang="pt-BR" sz="1323" b="1" dirty="0" err="1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React</a:t>
            </a:r>
            <a:endParaRPr lang="pt-BR" sz="1323" b="1" dirty="0" smtClean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b="1" dirty="0" err="1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Backlog</a:t>
            </a:r>
            <a:r>
              <a:rPr lang="pt-BR" sz="1323" b="1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 atualizado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b="1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Dicionário de dados feito</a:t>
            </a:r>
          </a:p>
          <a:p>
            <a:pPr fontAlgn="base">
              <a:spcBef>
                <a:spcPct val="0"/>
              </a:spcBef>
              <a:defRPr/>
            </a:pPr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lvl="1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6844996" y="1121895"/>
            <a:ext cx="6164295" cy="9114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defRPr/>
            </a:pPr>
            <a:r>
              <a:rPr lang="pt-BR" sz="2000" b="1" dirty="0">
                <a:latin typeface="Calibri" panose="020F0502020204030204" pitchFamily="34" charset="0"/>
                <a:cs typeface="Simplon BP Regular"/>
              </a:rPr>
              <a:t>Pontos de riscos ou assuntos que devem ser resolvidos com urgência para o bom andamento do projeto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endParaRPr lang="pt-BR" sz="1323" b="1" dirty="0"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2" name="Rectangle 43">
            <a:extLst>
              <a:ext uri="{FF2B5EF4-FFF2-40B4-BE49-F238E27FC236}">
                <a16:creationId xmlns:a16="http://schemas.microsoft.com/office/drawing/2014/main" xmlns="" id="{B15BA19F-C787-4E6A-ADAB-C0DFF09C66A8}"/>
              </a:ext>
            </a:extLst>
          </p:cNvPr>
          <p:cNvSpPr>
            <a:spLocks/>
          </p:cNvSpPr>
          <p:nvPr/>
        </p:nvSpPr>
        <p:spPr>
          <a:xfrm>
            <a:off x="512766" y="3728204"/>
            <a:ext cx="12496524" cy="358148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tIns="105844" numCol="3" rtlCol="0" anchor="ctr"/>
          <a:lstStyle/>
          <a:p>
            <a:pPr marL="0" lvl="1" defTabSz="672130"/>
            <a:r>
              <a:rPr lang="pt-BR" sz="1323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rente Plataforma</a:t>
            </a:r>
          </a:p>
          <a:p>
            <a:pPr marL="252049" lvl="1" indent="-252049" defTabSz="672130">
              <a:buFont typeface="Wingdings" charset="2"/>
              <a:buChar char="§"/>
            </a:pPr>
            <a:r>
              <a:rPr lang="pt-BR" sz="1323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Subir a aplicação Spring no </a:t>
            </a:r>
            <a:r>
              <a:rPr lang="pt-BR" sz="1323" dirty="0" err="1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Heroku</a:t>
            </a:r>
            <a:endParaRPr lang="pt-BR" sz="1323" dirty="0" smtClean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0" lvl="1" defTabSz="672130"/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0" lvl="1" defTabSz="672130"/>
            <a:r>
              <a:rPr lang="pt-BR" sz="1323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rente </a:t>
            </a:r>
            <a:r>
              <a:rPr lang="pt-BR" sz="1323" b="1" dirty="0" err="1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Backend</a:t>
            </a:r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lvl="1" indent="-252049">
              <a:buFont typeface="Wingdings" panose="05000000000000000000" pitchFamily="2" charset="2"/>
              <a:buChar char="§"/>
            </a:pPr>
            <a:r>
              <a:rPr lang="pt-BR" sz="1323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Validação de </a:t>
            </a:r>
            <a:r>
              <a:rPr lang="pt-BR" sz="1323" dirty="0" err="1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login</a:t>
            </a:r>
            <a:endParaRPr lang="pt-BR" sz="1323" dirty="0" smtClean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0" lvl="1"/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0" lvl="1" defTabSz="672130"/>
            <a:r>
              <a:rPr lang="pt-BR" sz="1323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rente Front </a:t>
            </a:r>
            <a:r>
              <a:rPr lang="pt-BR" sz="1323" b="1" dirty="0" err="1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end</a:t>
            </a:r>
            <a:endParaRPr lang="pt-BR" sz="1323" b="1" dirty="0" smtClean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r>
              <a:rPr lang="pt-BR" sz="1323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Término dos </a:t>
            </a:r>
            <a:r>
              <a:rPr lang="pt-BR" sz="1323" dirty="0" err="1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wireframes</a:t>
            </a:r>
            <a:r>
              <a:rPr lang="pt-BR" sz="1323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 e continuação do desenvolvimento</a:t>
            </a: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0" lvl="1" defTabSz="672130"/>
            <a:r>
              <a:rPr lang="pt-BR" sz="1323" b="1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rente Documentação</a:t>
            </a: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r>
              <a:rPr lang="pt-BR" sz="1323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BPMN</a:t>
            </a: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r>
              <a:rPr lang="pt-BR" sz="1323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Diagrama de estado</a:t>
            </a: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endParaRPr lang="pt-BR" sz="1323" dirty="0" smtClean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endParaRPr lang="pt-BR" sz="1323" dirty="0" smtClean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7" name="Oval 129">
            <a:extLst>
              <a:ext uri="{FF2B5EF4-FFF2-40B4-BE49-F238E27FC236}">
                <a16:creationId xmlns:a16="http://schemas.microsoft.com/office/drawing/2014/main" xmlns="" id="{DD175998-7BC4-48E7-B48B-3AD3DB555BC2}"/>
              </a:ext>
            </a:extLst>
          </p:cNvPr>
          <p:cNvSpPr>
            <a:spLocks noChangeAspect="1"/>
          </p:cNvSpPr>
          <p:nvPr/>
        </p:nvSpPr>
        <p:spPr>
          <a:xfrm>
            <a:off x="9301036" y="309722"/>
            <a:ext cx="211404" cy="21168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8" name="TextBox 138">
            <a:extLst>
              <a:ext uri="{FF2B5EF4-FFF2-40B4-BE49-F238E27FC236}">
                <a16:creationId xmlns:a16="http://schemas.microsoft.com/office/drawing/2014/main" xmlns="" id="{5CE7D08C-795B-4BF1-97F6-F9773F4E9F4C}"/>
              </a:ext>
            </a:extLst>
          </p:cNvPr>
          <p:cNvSpPr txBox="1"/>
          <p:nvPr/>
        </p:nvSpPr>
        <p:spPr>
          <a:xfrm>
            <a:off x="9927214" y="83089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en-US" sz="1176" b="0" dirty="0" err="1">
                <a:solidFill>
                  <a:prstClr val="black"/>
                </a:solidFill>
                <a:latin typeface="Simplon BP Bold" pitchFamily="2" charset="0"/>
              </a:rPr>
              <a:t>Farol</a:t>
            </a:r>
            <a:r>
              <a:rPr lang="en-US" sz="1176" b="0" dirty="0">
                <a:solidFill>
                  <a:prstClr val="black"/>
                </a:solidFill>
                <a:latin typeface="Simplon BP Bold" pitchFamily="2" charset="0"/>
              </a:rPr>
              <a:t> do </a:t>
            </a:r>
            <a:r>
              <a:rPr lang="en-US" sz="1176" b="0" dirty="0" err="1">
                <a:solidFill>
                  <a:prstClr val="black"/>
                </a:solidFill>
                <a:latin typeface="Simplon BP Bold" pitchFamily="2" charset="0"/>
              </a:rPr>
              <a:t>Projeto</a:t>
            </a:r>
            <a:endParaRPr lang="en-US" sz="1176" b="0" dirty="0">
              <a:solidFill>
                <a:prstClr val="black"/>
              </a:solidFill>
              <a:latin typeface="Simplon BP Bold" pitchFamily="2" charset="0"/>
            </a:endParaRPr>
          </a:p>
        </p:txBody>
      </p:sp>
      <p:sp>
        <p:nvSpPr>
          <p:cNvPr id="10" name="Oval 114">
            <a:extLst>
              <a:ext uri="{FF2B5EF4-FFF2-40B4-BE49-F238E27FC236}">
                <a16:creationId xmlns:a16="http://schemas.microsoft.com/office/drawing/2014/main" xmlns="" id="{2C0D7151-D7C4-4C3E-8608-61515AFD4BD7}"/>
              </a:ext>
            </a:extLst>
          </p:cNvPr>
          <p:cNvSpPr>
            <a:spLocks noChangeAspect="1"/>
          </p:cNvSpPr>
          <p:nvPr/>
        </p:nvSpPr>
        <p:spPr>
          <a:xfrm>
            <a:off x="11878494" y="309722"/>
            <a:ext cx="211404" cy="211689"/>
          </a:xfrm>
          <a:prstGeom prst="ellipse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44" name="Oval 124"/>
          <p:cNvSpPr>
            <a:spLocks noChangeAspect="1"/>
          </p:cNvSpPr>
          <p:nvPr/>
        </p:nvSpPr>
        <p:spPr>
          <a:xfrm>
            <a:off x="9013140" y="297930"/>
            <a:ext cx="211404" cy="211689"/>
          </a:xfrm>
          <a:prstGeom prst="ellipse">
            <a:avLst/>
          </a:prstGeom>
          <a:solidFill>
            <a:srgbClr val="1BCF1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45" name="Oval 120"/>
          <p:cNvSpPr>
            <a:spLocks noChangeAspect="1"/>
          </p:cNvSpPr>
          <p:nvPr/>
        </p:nvSpPr>
        <p:spPr>
          <a:xfrm>
            <a:off x="12164174" y="309722"/>
            <a:ext cx="211404" cy="211689"/>
          </a:xfrm>
          <a:prstGeom prst="ellipse">
            <a:avLst/>
          </a:prstGeom>
          <a:solidFill>
            <a:srgbClr val="FFC000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086434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Objeto 9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53" y="0"/>
          <a:ext cx="215420" cy="1750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98" name="Objeto 9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53" y="0"/>
                        <a:ext cx="215420" cy="1750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Retângulo 96" hidden="1"/>
          <p:cNvSpPr/>
          <p:nvPr>
            <p:custDataLst>
              <p:tags r:id="rId3"/>
            </p:custDataLst>
          </p:nvPr>
        </p:nvSpPr>
        <p:spPr bwMode="auto">
          <a:xfrm>
            <a:off x="-78138" y="1"/>
            <a:ext cx="372402" cy="288436"/>
          </a:xfrm>
          <a:prstGeom prst="rect">
            <a:avLst/>
          </a:prstGeom>
          <a:solidFill>
            <a:srgbClr val="F0EEE8"/>
          </a:solidFill>
          <a:ln w="9525" cap="flat" cmpd="sng" algn="ctr">
            <a:solidFill>
              <a:srgbClr val="CBC3A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70" dirty="0">
              <a:solidFill>
                <a:srgbClr val="71684F"/>
              </a:solidFill>
              <a:latin typeface="Simplon BP Regular"/>
              <a:ea typeface="Verdana"/>
              <a:cs typeface="Verdana"/>
              <a:sym typeface="Simplon BP Regular"/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437072" y="1355008"/>
            <a:ext cx="13007631" cy="3903947"/>
            <a:chOff x="135893" y="573561"/>
            <a:chExt cx="8848357" cy="2655635"/>
          </a:xfrm>
        </p:grpSpPr>
        <p:cxnSp>
          <p:nvCxnSpPr>
            <p:cNvPr id="6" name="Conector reto 5"/>
            <p:cNvCxnSpPr/>
            <p:nvPr/>
          </p:nvCxnSpPr>
          <p:spPr>
            <a:xfrm flipH="1">
              <a:off x="6810157" y="1725449"/>
              <a:ext cx="2174093" cy="16948"/>
            </a:xfrm>
            <a:prstGeom prst="line">
              <a:avLst/>
            </a:prstGeom>
            <a:ln>
              <a:solidFill>
                <a:srgbClr val="FF6D00"/>
              </a:solidFill>
              <a:prstDash val="sysDash"/>
              <a:head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ector reto 6"/>
            <p:cNvCxnSpPr>
              <a:cxnSpLocks/>
            </p:cNvCxnSpPr>
            <p:nvPr/>
          </p:nvCxnSpPr>
          <p:spPr>
            <a:xfrm flipH="1">
              <a:off x="2157055" y="1743449"/>
              <a:ext cx="4642971" cy="0"/>
            </a:xfrm>
            <a:prstGeom prst="line">
              <a:avLst/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Elipse 7"/>
            <p:cNvSpPr/>
            <p:nvPr/>
          </p:nvSpPr>
          <p:spPr>
            <a:xfrm>
              <a:off x="3731300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0" name="Elipse 9"/>
            <p:cNvSpPr/>
            <p:nvPr/>
          </p:nvSpPr>
          <p:spPr>
            <a:xfrm>
              <a:off x="511748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1" name="Retângulo 10">
              <a:hlinkClick r:id="" action="ppaction://noaction"/>
            </p:cNvPr>
            <p:cNvSpPr/>
            <p:nvPr/>
          </p:nvSpPr>
          <p:spPr>
            <a:xfrm>
              <a:off x="3816301" y="1182256"/>
              <a:ext cx="1149715" cy="3705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onexão com a biblioteca  X</a:t>
              </a:r>
            </a:p>
          </p:txBody>
        </p:sp>
        <p:sp>
          <p:nvSpPr>
            <p:cNvPr id="13" name="Retângulo 12">
              <a:hlinkClick r:id="" action="ppaction://noaction"/>
            </p:cNvPr>
            <p:cNvSpPr/>
            <p:nvPr/>
          </p:nvSpPr>
          <p:spPr>
            <a:xfrm>
              <a:off x="4490236" y="2125095"/>
              <a:ext cx="510422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XYZ</a:t>
              </a:r>
            </a:p>
          </p:txBody>
        </p:sp>
        <p:sp>
          <p:nvSpPr>
            <p:cNvPr id="14" name="Retângulo 13">
              <a:hlinkClick r:id="" action="ppaction://noaction"/>
            </p:cNvPr>
            <p:cNvSpPr/>
            <p:nvPr/>
          </p:nvSpPr>
          <p:spPr>
            <a:xfrm>
              <a:off x="7878371" y="1166249"/>
              <a:ext cx="1026103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stes</a:t>
              </a:r>
            </a:p>
          </p:txBody>
        </p:sp>
        <p:cxnSp>
          <p:nvCxnSpPr>
            <p:cNvPr id="15" name="Conector angulado 14"/>
            <p:cNvCxnSpPr>
              <a:cxnSpLocks/>
              <a:stCxn id="26" idx="4"/>
              <a:endCxn id="29" idx="0"/>
            </p:cNvCxnSpPr>
            <p:nvPr/>
          </p:nvCxnSpPr>
          <p:spPr>
            <a:xfrm rot="5400000">
              <a:off x="4020315" y="1434801"/>
              <a:ext cx="327646" cy="105294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angulado 15"/>
            <p:cNvCxnSpPr>
              <a:stCxn id="11" idx="2"/>
              <a:endCxn id="8" idx="0"/>
            </p:cNvCxnSpPr>
            <p:nvPr/>
          </p:nvCxnSpPr>
          <p:spPr>
            <a:xfrm rot="5400000">
              <a:off x="4037920" y="1318209"/>
              <a:ext cx="118620" cy="58785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angulado 17"/>
            <p:cNvCxnSpPr>
              <a:stCxn id="13" idx="0"/>
              <a:endCxn id="10" idx="4"/>
            </p:cNvCxnSpPr>
            <p:nvPr/>
          </p:nvCxnSpPr>
          <p:spPr>
            <a:xfrm rot="5400000" flipH="1" flipV="1">
              <a:off x="4803645" y="1739251"/>
              <a:ext cx="327646" cy="444043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angulado 18"/>
            <p:cNvCxnSpPr>
              <a:stCxn id="14" idx="2"/>
              <a:endCxn id="25" idx="0"/>
            </p:cNvCxnSpPr>
            <p:nvPr/>
          </p:nvCxnSpPr>
          <p:spPr>
            <a:xfrm rot="5400000">
              <a:off x="7964050" y="1226075"/>
              <a:ext cx="270509" cy="58423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tângulo 20">
              <a:hlinkClick r:id="" action="ppaction://noaction"/>
            </p:cNvPr>
            <p:cNvSpPr/>
            <p:nvPr/>
          </p:nvSpPr>
          <p:spPr>
            <a:xfrm>
              <a:off x="5141448" y="1173707"/>
              <a:ext cx="1069648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la de Cadastro</a:t>
              </a:r>
            </a:p>
          </p:txBody>
        </p:sp>
        <p:sp>
          <p:nvSpPr>
            <p:cNvPr id="22" name="Elipse 21"/>
            <p:cNvSpPr/>
            <p:nvPr/>
          </p:nvSpPr>
          <p:spPr>
            <a:xfrm>
              <a:off x="7477532" y="1653449"/>
              <a:ext cx="144000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3" name="Retângulo 22">
              <a:hlinkClick r:id="" action="ppaction://noaction"/>
            </p:cNvPr>
            <p:cNvSpPr/>
            <p:nvPr/>
          </p:nvSpPr>
          <p:spPr>
            <a:xfrm>
              <a:off x="6770457" y="2125095"/>
              <a:ext cx="1109087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Deploy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24" name="Conector angulado 23"/>
            <p:cNvCxnSpPr>
              <a:stCxn id="22" idx="4"/>
              <a:endCxn id="23" idx="0"/>
            </p:cNvCxnSpPr>
            <p:nvPr/>
          </p:nvCxnSpPr>
          <p:spPr>
            <a:xfrm rot="5400000">
              <a:off x="7273444" y="1849006"/>
              <a:ext cx="327646" cy="22453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Elipse 24"/>
            <p:cNvSpPr/>
            <p:nvPr/>
          </p:nvSpPr>
          <p:spPr>
            <a:xfrm>
              <a:off x="7741731" y="1653449"/>
              <a:ext cx="130909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6" name="Elipse 25"/>
            <p:cNvSpPr/>
            <p:nvPr/>
          </p:nvSpPr>
          <p:spPr>
            <a:xfrm>
              <a:off x="463860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7" name="CaixaDeTexto 26"/>
            <p:cNvSpPr txBox="1"/>
            <p:nvPr/>
          </p:nvSpPr>
          <p:spPr>
            <a:xfrm>
              <a:off x="1935125" y="573561"/>
              <a:ext cx="4875031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2</a:t>
              </a:r>
            </a:p>
          </p:txBody>
        </p:sp>
        <p:sp>
          <p:nvSpPr>
            <p:cNvPr id="28" name="CaixaDeTexto 27"/>
            <p:cNvSpPr txBox="1"/>
            <p:nvPr/>
          </p:nvSpPr>
          <p:spPr>
            <a:xfrm>
              <a:off x="6810157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3</a:t>
              </a:r>
            </a:p>
          </p:txBody>
        </p:sp>
        <p:sp>
          <p:nvSpPr>
            <p:cNvPr id="29" name="Retângulo 28">
              <a:hlinkClick r:id="" action="ppaction://noaction"/>
            </p:cNvPr>
            <p:cNvSpPr/>
            <p:nvPr/>
          </p:nvSpPr>
          <p:spPr>
            <a:xfrm>
              <a:off x="3367814" y="2125095"/>
              <a:ext cx="579706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ÇLKJH</a:t>
              </a:r>
            </a:p>
          </p:txBody>
        </p:sp>
        <p:sp>
          <p:nvSpPr>
            <p:cNvPr id="33" name="Elipse 32"/>
            <p:cNvSpPr/>
            <p:nvPr/>
          </p:nvSpPr>
          <p:spPr>
            <a:xfrm>
              <a:off x="5881086" y="1673873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cxnSp>
          <p:nvCxnSpPr>
            <p:cNvPr id="34" name="Conector angulado 33"/>
            <p:cNvCxnSpPr>
              <a:cxnSpLocks/>
              <a:stCxn id="33" idx="0"/>
              <a:endCxn id="21" idx="2"/>
            </p:cNvCxnSpPr>
            <p:nvPr/>
          </p:nvCxnSpPr>
          <p:spPr>
            <a:xfrm rot="16200000" flipV="1">
              <a:off x="5672943" y="1393729"/>
              <a:ext cx="283475" cy="276814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angulado 34"/>
            <p:cNvCxnSpPr>
              <a:stCxn id="37" idx="4"/>
              <a:endCxn id="38" idx="0"/>
            </p:cNvCxnSpPr>
            <p:nvPr/>
          </p:nvCxnSpPr>
          <p:spPr>
            <a:xfrm rot="5400000">
              <a:off x="6234794" y="1791752"/>
              <a:ext cx="317476" cy="364869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Elipse 36"/>
            <p:cNvSpPr/>
            <p:nvPr/>
          </p:nvSpPr>
          <p:spPr>
            <a:xfrm>
              <a:off x="6503966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38" name="Retângulo 37">
              <a:hlinkClick r:id="" action="ppaction://noaction"/>
            </p:cNvPr>
            <p:cNvSpPr/>
            <p:nvPr/>
          </p:nvSpPr>
          <p:spPr>
            <a:xfrm>
              <a:off x="5605472" y="2132925"/>
              <a:ext cx="1211250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2 telas no </a:t>
              </a:r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React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39" name="Conector reto 38"/>
            <p:cNvCxnSpPr/>
            <p:nvPr/>
          </p:nvCxnSpPr>
          <p:spPr>
            <a:xfrm flipH="1">
              <a:off x="135893" y="1745497"/>
              <a:ext cx="2160000" cy="0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CaixaDeTexto 39"/>
            <p:cNvSpPr txBox="1"/>
            <p:nvPr/>
          </p:nvSpPr>
          <p:spPr>
            <a:xfrm>
              <a:off x="138459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pPr algn="ctr"/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1</a:t>
              </a:r>
            </a:p>
          </p:txBody>
        </p:sp>
        <p:sp>
          <p:nvSpPr>
            <p:cNvPr id="43" name="Retângulo 42">
              <a:hlinkClick r:id="" action="ppaction://noaction"/>
            </p:cNvPr>
            <p:cNvSpPr/>
            <p:nvPr/>
          </p:nvSpPr>
          <p:spPr>
            <a:xfrm>
              <a:off x="2682611" y="1182256"/>
              <a:ext cx="1323234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riação do banco</a:t>
              </a:r>
            </a:p>
          </p:txBody>
        </p:sp>
        <p:sp>
          <p:nvSpPr>
            <p:cNvPr id="49" name="Retângulo 48">
              <a:hlinkClick r:id="" action="ppaction://noaction"/>
            </p:cNvPr>
            <p:cNvSpPr/>
            <p:nvPr/>
          </p:nvSpPr>
          <p:spPr>
            <a:xfrm>
              <a:off x="348753" y="2550860"/>
              <a:ext cx="2159999" cy="6783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52049" indent="-252049" algn="ctr">
                <a:buFont typeface="Wingdings" panose="05000000000000000000" pitchFamily="2" charset="2"/>
                <a:buChar char="ü"/>
              </a:pPr>
              <a:r>
                <a:rPr lang="pt-BR" sz="2940" b="1" dirty="0">
                  <a:solidFill>
                    <a:schemeClr val="accent5">
                      <a:lumMod val="75000"/>
                    </a:schemeClr>
                  </a:solidFill>
                  <a:latin typeface="Simplon Oi Headline" pitchFamily="2" charset="0"/>
                  <a:cs typeface="Simplon Oi Headline"/>
                </a:rPr>
                <a:t>Documentação e Fundação</a:t>
              </a:r>
            </a:p>
          </p:txBody>
        </p:sp>
      </p:grpSp>
      <p:sp>
        <p:nvSpPr>
          <p:cNvPr id="46" name="Espaço Reservado para Texto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423731" y="301878"/>
            <a:ext cx="12172111" cy="40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457200" eaLnBrk="1" hangingPunct="1">
              <a:lnSpc>
                <a:spcPts val="2000"/>
              </a:lnSpc>
              <a:spcBef>
                <a:spcPts val="900"/>
              </a:spcBef>
              <a:buClr>
                <a:schemeClr val="tx1"/>
              </a:buClr>
              <a:buFont typeface="Arial"/>
              <a:buNone/>
              <a:defRPr lang="pt-BR" sz="1500" b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588" indent="0" defTabSz="955675" eaLnBrk="0" hangingPunct="0">
              <a:spcBef>
                <a:spcPct val="20000"/>
              </a:spcBef>
              <a:buClr>
                <a:schemeClr val="tx1"/>
              </a:buClr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323850" indent="-171450" defTabSz="955675" eaLnBrk="0" hangingPunct="0">
              <a:spcBef>
                <a:spcPct val="20000"/>
              </a:spcBef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95300" indent="-150813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696913" indent="-200025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1541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6113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0685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5257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ts val="882"/>
              </a:spcAft>
              <a:buClr>
                <a:prstClr val="black"/>
              </a:buClr>
            </a:pP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Exemplo 1 de </a:t>
            </a:r>
            <a:r>
              <a:rPr sz="2646" dirty="0" err="1">
                <a:solidFill>
                  <a:prstClr val="black"/>
                </a:solidFill>
                <a:latin typeface="Simplon Oi Headline"/>
                <a:cs typeface="Simplon Oi Headline"/>
              </a:rPr>
              <a:t>Timeline</a:t>
            </a: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 para o projeto dividido por Frente/Sprint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3856079" y="1721208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1</a:t>
            </a:r>
          </a:p>
        </p:txBody>
      </p:sp>
      <p:sp>
        <p:nvSpPr>
          <p:cNvPr id="44" name="CaixaDeTexto 43"/>
          <p:cNvSpPr txBox="1"/>
          <p:nvPr/>
        </p:nvSpPr>
        <p:spPr>
          <a:xfrm>
            <a:off x="5607087" y="1711604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2</a:t>
            </a:r>
          </a:p>
        </p:txBody>
      </p:sp>
      <p:sp>
        <p:nvSpPr>
          <p:cNvPr id="45" name="CaixaDeTexto 44"/>
          <p:cNvSpPr txBox="1"/>
          <p:nvPr/>
        </p:nvSpPr>
        <p:spPr>
          <a:xfrm>
            <a:off x="7197854" y="1730810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3</a:t>
            </a:r>
          </a:p>
        </p:txBody>
      </p:sp>
      <p:cxnSp>
        <p:nvCxnSpPr>
          <p:cNvPr id="5" name="Conector reto 4"/>
          <p:cNvCxnSpPr/>
          <p:nvPr/>
        </p:nvCxnSpPr>
        <p:spPr>
          <a:xfrm>
            <a:off x="5053552" y="172597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to 46"/>
          <p:cNvCxnSpPr/>
          <p:nvPr/>
        </p:nvCxnSpPr>
        <p:spPr>
          <a:xfrm>
            <a:off x="6763386" y="172455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to 47"/>
          <p:cNvCxnSpPr/>
          <p:nvPr/>
        </p:nvCxnSpPr>
        <p:spPr>
          <a:xfrm>
            <a:off x="3413004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to 49"/>
          <p:cNvCxnSpPr/>
          <p:nvPr/>
        </p:nvCxnSpPr>
        <p:spPr>
          <a:xfrm>
            <a:off x="9997593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tângulo 3">
            <a:hlinkClick r:id="" action="ppaction://noaction"/>
            <a:extLst>
              <a:ext uri="{FF2B5EF4-FFF2-40B4-BE49-F238E27FC236}">
                <a16:creationId xmlns:a16="http://schemas.microsoft.com/office/drawing/2014/main" xmlns="" id="{1F0CBBDC-2315-430E-AEEA-C6591C07E4A2}"/>
              </a:ext>
            </a:extLst>
          </p:cNvPr>
          <p:cNvSpPr/>
          <p:nvPr/>
        </p:nvSpPr>
        <p:spPr>
          <a:xfrm>
            <a:off x="5229498" y="4261759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4D4D4D"/>
                </a:solidFill>
                <a:latin typeface="Simplon Oi Headline" pitchFamily="2" charset="0"/>
                <a:cs typeface="Simplon Oi Headline"/>
              </a:rPr>
              <a:t> Fundação e Construção</a:t>
            </a:r>
          </a:p>
        </p:txBody>
      </p:sp>
      <p:sp>
        <p:nvSpPr>
          <p:cNvPr id="9" name="Retângulo 8">
            <a:hlinkClick r:id="" action="ppaction://noaction"/>
            <a:extLst>
              <a:ext uri="{FF2B5EF4-FFF2-40B4-BE49-F238E27FC236}">
                <a16:creationId xmlns:a16="http://schemas.microsoft.com/office/drawing/2014/main" xmlns="" id="{52DD515D-7F63-4291-A3C3-68035A28B582}"/>
              </a:ext>
            </a:extLst>
          </p:cNvPr>
          <p:cNvSpPr/>
          <p:nvPr/>
        </p:nvSpPr>
        <p:spPr>
          <a:xfrm>
            <a:off x="10130642" y="4109233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F48D27"/>
                </a:solidFill>
                <a:latin typeface="Simplon Oi Headline" pitchFamily="2" charset="0"/>
                <a:cs typeface="Simplon Oi Headline"/>
              </a:rPr>
              <a:t> Construção e Implantação 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xmlns="" id="{C5380733-6F5D-4194-9AD2-D0B5F3C93AE1}"/>
              </a:ext>
            </a:extLst>
          </p:cNvPr>
          <p:cNvSpPr/>
          <p:nvPr/>
        </p:nvSpPr>
        <p:spPr>
          <a:xfrm>
            <a:off x="858729" y="2915861"/>
            <a:ext cx="211689" cy="211689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schemeClr val="tx1"/>
              </a:solidFill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xmlns="" id="{48C035DA-C79B-40E7-8C87-ED0980B37601}"/>
              </a:ext>
            </a:extLst>
          </p:cNvPr>
          <p:cNvSpPr txBox="1"/>
          <p:nvPr/>
        </p:nvSpPr>
        <p:spPr>
          <a:xfrm rot="16200000">
            <a:off x="-1703767" y="3060365"/>
            <a:ext cx="3947552" cy="42337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</p:spPr>
        <p:txBody>
          <a:bodyPr wrap="none" rtlCol="0" anchor="ctr">
            <a:noAutofit/>
          </a:bodyPr>
          <a:lstStyle>
            <a:defPPr>
              <a:defRPr lang="pt-BR"/>
            </a:defPPr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ctr"/>
            <a:r>
              <a:rPr lang="pt-BR" sz="1764" b="1" dirty="0">
                <a:solidFill>
                  <a:prstClr val="black"/>
                </a:solidFill>
                <a:latin typeface="Calibri" panose="020F0502020204030204" pitchFamily="34" charset="0"/>
              </a:rPr>
              <a:t>Front </a:t>
            </a:r>
            <a:r>
              <a:rPr lang="pt-BR" sz="1764" b="1" dirty="0" err="1">
                <a:solidFill>
                  <a:prstClr val="black"/>
                </a:solidFill>
                <a:latin typeface="Calibri" panose="020F0502020204030204" pitchFamily="34" charset="0"/>
              </a:rPr>
              <a:t>End</a:t>
            </a:r>
            <a:endParaRPr lang="pt-BR" sz="1764" b="1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xmlns="" id="{30B5B7B8-CF33-4805-88BA-E17C33356786}"/>
              </a:ext>
            </a:extLst>
          </p:cNvPr>
          <p:cNvCxnSpPr>
            <a:cxnSpLocks/>
          </p:cNvCxnSpPr>
          <p:nvPr/>
        </p:nvCxnSpPr>
        <p:spPr>
          <a:xfrm>
            <a:off x="8239947" y="1722606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CaixaDeTexto 54">
            <a:extLst>
              <a:ext uri="{FF2B5EF4-FFF2-40B4-BE49-F238E27FC236}">
                <a16:creationId xmlns:a16="http://schemas.microsoft.com/office/drawing/2014/main" xmlns="" id="{5C9EC840-FF5E-45B9-A112-87013926B770}"/>
              </a:ext>
            </a:extLst>
          </p:cNvPr>
          <p:cNvSpPr txBox="1"/>
          <p:nvPr/>
        </p:nvSpPr>
        <p:spPr>
          <a:xfrm>
            <a:off x="8646094" y="1708575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4</a:t>
            </a:r>
          </a:p>
        </p:txBody>
      </p:sp>
      <p:sp>
        <p:nvSpPr>
          <p:cNvPr id="63" name="Elipse 62">
            <a:extLst>
              <a:ext uri="{FF2B5EF4-FFF2-40B4-BE49-F238E27FC236}">
                <a16:creationId xmlns:a16="http://schemas.microsoft.com/office/drawing/2014/main" xmlns="" id="{E12AB2F3-8086-4DC1-AA1C-06995EAC28B9}"/>
              </a:ext>
            </a:extLst>
          </p:cNvPr>
          <p:cNvSpPr/>
          <p:nvPr/>
        </p:nvSpPr>
        <p:spPr>
          <a:xfrm>
            <a:off x="3909010" y="2915970"/>
            <a:ext cx="211689" cy="211689"/>
          </a:xfrm>
          <a:prstGeom prst="ellipse">
            <a:avLst/>
          </a:prstGeom>
          <a:solidFill>
            <a:srgbClr val="4D4D4D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prstClr val="white"/>
              </a:solidFill>
            </a:endParaRPr>
          </a:p>
        </p:txBody>
      </p:sp>
      <p:cxnSp>
        <p:nvCxnSpPr>
          <p:cNvPr id="64" name="Conector angulado 15">
            <a:extLst>
              <a:ext uri="{FF2B5EF4-FFF2-40B4-BE49-F238E27FC236}">
                <a16:creationId xmlns:a16="http://schemas.microsoft.com/office/drawing/2014/main" xmlns="" id="{F17307C4-DF1B-413B-A553-2F35F9B23221}"/>
              </a:ext>
            </a:extLst>
          </p:cNvPr>
          <p:cNvCxnSpPr>
            <a:cxnSpLocks/>
            <a:stCxn id="43" idx="2"/>
            <a:endCxn id="63" idx="0"/>
          </p:cNvCxnSpPr>
          <p:nvPr/>
        </p:nvCxnSpPr>
        <p:spPr>
          <a:xfrm rot="5400000">
            <a:off x="4410392" y="2172839"/>
            <a:ext cx="347594" cy="1138668"/>
          </a:xfrm>
          <a:prstGeom prst="bentConnector3">
            <a:avLst>
              <a:gd name="adj1" fmla="val 50000"/>
            </a:avLst>
          </a:prstGeom>
          <a:ln>
            <a:solidFill>
              <a:srgbClr val="4D4D4D"/>
            </a:solidFill>
            <a:prstDash val="sysDash"/>
            <a:head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6218586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Objeto 9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53" y="0"/>
          <a:ext cx="215420" cy="1750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98" name="Objeto 9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53" y="0"/>
                        <a:ext cx="215420" cy="1750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Retângulo 96" hidden="1"/>
          <p:cNvSpPr/>
          <p:nvPr>
            <p:custDataLst>
              <p:tags r:id="rId3"/>
            </p:custDataLst>
          </p:nvPr>
        </p:nvSpPr>
        <p:spPr bwMode="auto">
          <a:xfrm>
            <a:off x="-78138" y="1"/>
            <a:ext cx="372402" cy="288436"/>
          </a:xfrm>
          <a:prstGeom prst="rect">
            <a:avLst/>
          </a:prstGeom>
          <a:solidFill>
            <a:srgbClr val="F0EEE8"/>
          </a:solidFill>
          <a:ln w="9525" cap="flat" cmpd="sng" algn="ctr">
            <a:solidFill>
              <a:srgbClr val="CBC3A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70" dirty="0">
              <a:solidFill>
                <a:srgbClr val="71684F"/>
              </a:solidFill>
              <a:latin typeface="Simplon BP Regular"/>
              <a:ea typeface="Verdana"/>
              <a:cs typeface="Verdana"/>
              <a:sym typeface="Simplon BP Regular"/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437072" y="1355008"/>
            <a:ext cx="13007631" cy="3903947"/>
            <a:chOff x="135893" y="573561"/>
            <a:chExt cx="8848357" cy="2655635"/>
          </a:xfrm>
        </p:grpSpPr>
        <p:cxnSp>
          <p:nvCxnSpPr>
            <p:cNvPr id="6" name="Conector reto 5"/>
            <p:cNvCxnSpPr/>
            <p:nvPr/>
          </p:nvCxnSpPr>
          <p:spPr>
            <a:xfrm flipH="1">
              <a:off x="6810157" y="1725449"/>
              <a:ext cx="2174093" cy="16948"/>
            </a:xfrm>
            <a:prstGeom prst="line">
              <a:avLst/>
            </a:prstGeom>
            <a:ln>
              <a:solidFill>
                <a:srgbClr val="FF6D00"/>
              </a:solidFill>
              <a:prstDash val="sysDash"/>
              <a:head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ector reto 6"/>
            <p:cNvCxnSpPr>
              <a:cxnSpLocks/>
            </p:cNvCxnSpPr>
            <p:nvPr/>
          </p:nvCxnSpPr>
          <p:spPr>
            <a:xfrm flipH="1">
              <a:off x="2157055" y="1743449"/>
              <a:ext cx="4642971" cy="0"/>
            </a:xfrm>
            <a:prstGeom prst="line">
              <a:avLst/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Elipse 7"/>
            <p:cNvSpPr/>
            <p:nvPr/>
          </p:nvSpPr>
          <p:spPr>
            <a:xfrm>
              <a:off x="3731300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0" name="Elipse 9"/>
            <p:cNvSpPr/>
            <p:nvPr/>
          </p:nvSpPr>
          <p:spPr>
            <a:xfrm>
              <a:off x="511748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1" name="Retângulo 10">
              <a:hlinkClick r:id="" action="ppaction://noaction"/>
            </p:cNvPr>
            <p:cNvSpPr/>
            <p:nvPr/>
          </p:nvSpPr>
          <p:spPr>
            <a:xfrm>
              <a:off x="3816301" y="1182256"/>
              <a:ext cx="1149715" cy="3705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onexão com a biblioteca  X</a:t>
              </a:r>
            </a:p>
          </p:txBody>
        </p:sp>
        <p:sp>
          <p:nvSpPr>
            <p:cNvPr id="13" name="Retângulo 12">
              <a:hlinkClick r:id="" action="ppaction://noaction"/>
            </p:cNvPr>
            <p:cNvSpPr/>
            <p:nvPr/>
          </p:nvSpPr>
          <p:spPr>
            <a:xfrm>
              <a:off x="4490236" y="2125095"/>
              <a:ext cx="510422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XYZ</a:t>
              </a:r>
            </a:p>
          </p:txBody>
        </p:sp>
        <p:sp>
          <p:nvSpPr>
            <p:cNvPr id="14" name="Retângulo 13">
              <a:hlinkClick r:id="" action="ppaction://noaction"/>
            </p:cNvPr>
            <p:cNvSpPr/>
            <p:nvPr/>
          </p:nvSpPr>
          <p:spPr>
            <a:xfrm>
              <a:off x="7878371" y="1166249"/>
              <a:ext cx="1026103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stes</a:t>
              </a:r>
            </a:p>
          </p:txBody>
        </p:sp>
        <p:cxnSp>
          <p:nvCxnSpPr>
            <p:cNvPr id="15" name="Conector angulado 14"/>
            <p:cNvCxnSpPr>
              <a:cxnSpLocks/>
              <a:stCxn id="26" idx="4"/>
              <a:endCxn id="29" idx="0"/>
            </p:cNvCxnSpPr>
            <p:nvPr/>
          </p:nvCxnSpPr>
          <p:spPr>
            <a:xfrm rot="5400000">
              <a:off x="4020315" y="1434801"/>
              <a:ext cx="327646" cy="105294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angulado 15"/>
            <p:cNvCxnSpPr>
              <a:stCxn id="11" idx="2"/>
              <a:endCxn id="8" idx="0"/>
            </p:cNvCxnSpPr>
            <p:nvPr/>
          </p:nvCxnSpPr>
          <p:spPr>
            <a:xfrm rot="5400000">
              <a:off x="4037920" y="1318209"/>
              <a:ext cx="118620" cy="58785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angulado 17"/>
            <p:cNvCxnSpPr>
              <a:stCxn id="13" idx="0"/>
              <a:endCxn id="10" idx="4"/>
            </p:cNvCxnSpPr>
            <p:nvPr/>
          </p:nvCxnSpPr>
          <p:spPr>
            <a:xfrm rot="5400000" flipH="1" flipV="1">
              <a:off x="4803645" y="1739251"/>
              <a:ext cx="327646" cy="444043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angulado 18"/>
            <p:cNvCxnSpPr>
              <a:stCxn id="14" idx="2"/>
              <a:endCxn id="25" idx="0"/>
            </p:cNvCxnSpPr>
            <p:nvPr/>
          </p:nvCxnSpPr>
          <p:spPr>
            <a:xfrm rot="5400000">
              <a:off x="7964050" y="1226075"/>
              <a:ext cx="270509" cy="58423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tângulo 20">
              <a:hlinkClick r:id="" action="ppaction://noaction"/>
            </p:cNvPr>
            <p:cNvSpPr/>
            <p:nvPr/>
          </p:nvSpPr>
          <p:spPr>
            <a:xfrm>
              <a:off x="5141448" y="1173707"/>
              <a:ext cx="1069648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la de Cadastro</a:t>
              </a:r>
            </a:p>
          </p:txBody>
        </p:sp>
        <p:sp>
          <p:nvSpPr>
            <p:cNvPr id="22" name="Elipse 21"/>
            <p:cNvSpPr/>
            <p:nvPr/>
          </p:nvSpPr>
          <p:spPr>
            <a:xfrm>
              <a:off x="7477532" y="1653449"/>
              <a:ext cx="144000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3" name="Retângulo 22">
              <a:hlinkClick r:id="" action="ppaction://noaction"/>
            </p:cNvPr>
            <p:cNvSpPr/>
            <p:nvPr/>
          </p:nvSpPr>
          <p:spPr>
            <a:xfrm>
              <a:off x="6770457" y="2125095"/>
              <a:ext cx="1109087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Deploy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24" name="Conector angulado 23"/>
            <p:cNvCxnSpPr>
              <a:stCxn id="22" idx="4"/>
              <a:endCxn id="23" idx="0"/>
            </p:cNvCxnSpPr>
            <p:nvPr/>
          </p:nvCxnSpPr>
          <p:spPr>
            <a:xfrm rot="5400000">
              <a:off x="7273444" y="1849006"/>
              <a:ext cx="327646" cy="22453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Elipse 24"/>
            <p:cNvSpPr/>
            <p:nvPr/>
          </p:nvSpPr>
          <p:spPr>
            <a:xfrm>
              <a:off x="7741731" y="1653449"/>
              <a:ext cx="130909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6" name="Elipse 25"/>
            <p:cNvSpPr/>
            <p:nvPr/>
          </p:nvSpPr>
          <p:spPr>
            <a:xfrm>
              <a:off x="463860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7" name="CaixaDeTexto 26"/>
            <p:cNvSpPr txBox="1"/>
            <p:nvPr/>
          </p:nvSpPr>
          <p:spPr>
            <a:xfrm>
              <a:off x="1935125" y="573561"/>
              <a:ext cx="4875031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2</a:t>
              </a:r>
            </a:p>
          </p:txBody>
        </p:sp>
        <p:sp>
          <p:nvSpPr>
            <p:cNvPr id="28" name="CaixaDeTexto 27"/>
            <p:cNvSpPr txBox="1"/>
            <p:nvPr/>
          </p:nvSpPr>
          <p:spPr>
            <a:xfrm>
              <a:off x="6810157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3</a:t>
              </a:r>
            </a:p>
          </p:txBody>
        </p:sp>
        <p:sp>
          <p:nvSpPr>
            <p:cNvPr id="29" name="Retângulo 28">
              <a:hlinkClick r:id="" action="ppaction://noaction"/>
            </p:cNvPr>
            <p:cNvSpPr/>
            <p:nvPr/>
          </p:nvSpPr>
          <p:spPr>
            <a:xfrm>
              <a:off x="3367814" y="2125095"/>
              <a:ext cx="579706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ÇLKJH</a:t>
              </a:r>
            </a:p>
          </p:txBody>
        </p:sp>
        <p:sp>
          <p:nvSpPr>
            <p:cNvPr id="33" name="Elipse 32"/>
            <p:cNvSpPr/>
            <p:nvPr/>
          </p:nvSpPr>
          <p:spPr>
            <a:xfrm>
              <a:off x="5881086" y="1673873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cxnSp>
          <p:nvCxnSpPr>
            <p:cNvPr id="34" name="Conector angulado 33"/>
            <p:cNvCxnSpPr>
              <a:cxnSpLocks/>
              <a:stCxn id="33" idx="0"/>
              <a:endCxn id="21" idx="2"/>
            </p:cNvCxnSpPr>
            <p:nvPr/>
          </p:nvCxnSpPr>
          <p:spPr>
            <a:xfrm rot="16200000" flipV="1">
              <a:off x="5672943" y="1393729"/>
              <a:ext cx="283475" cy="276814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angulado 34"/>
            <p:cNvCxnSpPr>
              <a:stCxn id="37" idx="4"/>
              <a:endCxn id="38" idx="0"/>
            </p:cNvCxnSpPr>
            <p:nvPr/>
          </p:nvCxnSpPr>
          <p:spPr>
            <a:xfrm rot="5400000">
              <a:off x="6234794" y="1791752"/>
              <a:ext cx="317476" cy="364869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Elipse 36"/>
            <p:cNvSpPr/>
            <p:nvPr/>
          </p:nvSpPr>
          <p:spPr>
            <a:xfrm>
              <a:off x="6503966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38" name="Retângulo 37">
              <a:hlinkClick r:id="" action="ppaction://noaction"/>
            </p:cNvPr>
            <p:cNvSpPr/>
            <p:nvPr/>
          </p:nvSpPr>
          <p:spPr>
            <a:xfrm>
              <a:off x="5605472" y="2132925"/>
              <a:ext cx="1211250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2 telas no </a:t>
              </a:r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React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39" name="Conector reto 38"/>
            <p:cNvCxnSpPr/>
            <p:nvPr/>
          </p:nvCxnSpPr>
          <p:spPr>
            <a:xfrm flipH="1">
              <a:off x="135893" y="1745497"/>
              <a:ext cx="2160000" cy="0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CaixaDeTexto 39"/>
            <p:cNvSpPr txBox="1"/>
            <p:nvPr/>
          </p:nvSpPr>
          <p:spPr>
            <a:xfrm>
              <a:off x="138459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pPr algn="ctr"/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1</a:t>
              </a:r>
            </a:p>
          </p:txBody>
        </p:sp>
        <p:sp>
          <p:nvSpPr>
            <p:cNvPr id="43" name="Retângulo 42">
              <a:hlinkClick r:id="" action="ppaction://noaction"/>
            </p:cNvPr>
            <p:cNvSpPr/>
            <p:nvPr/>
          </p:nvSpPr>
          <p:spPr>
            <a:xfrm>
              <a:off x="2682611" y="1182256"/>
              <a:ext cx="1323234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riação do banco</a:t>
              </a:r>
            </a:p>
          </p:txBody>
        </p:sp>
        <p:sp>
          <p:nvSpPr>
            <p:cNvPr id="49" name="Retângulo 48">
              <a:hlinkClick r:id="" action="ppaction://noaction"/>
            </p:cNvPr>
            <p:cNvSpPr/>
            <p:nvPr/>
          </p:nvSpPr>
          <p:spPr>
            <a:xfrm>
              <a:off x="348753" y="2550860"/>
              <a:ext cx="2159999" cy="6783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52049" indent="-252049" algn="ctr">
                <a:buFont typeface="Wingdings" panose="05000000000000000000" pitchFamily="2" charset="2"/>
                <a:buChar char="ü"/>
              </a:pPr>
              <a:r>
                <a:rPr lang="pt-BR" sz="2940" b="1" dirty="0">
                  <a:solidFill>
                    <a:schemeClr val="accent5">
                      <a:lumMod val="75000"/>
                    </a:schemeClr>
                  </a:solidFill>
                  <a:latin typeface="Simplon Oi Headline" pitchFamily="2" charset="0"/>
                  <a:cs typeface="Simplon Oi Headline"/>
                </a:rPr>
                <a:t>Documentação e Fundação</a:t>
              </a:r>
            </a:p>
          </p:txBody>
        </p:sp>
      </p:grpSp>
      <p:sp>
        <p:nvSpPr>
          <p:cNvPr id="46" name="Espaço Reservado para Texto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423731" y="301878"/>
            <a:ext cx="12172111" cy="40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457200" eaLnBrk="1" hangingPunct="1">
              <a:lnSpc>
                <a:spcPts val="2000"/>
              </a:lnSpc>
              <a:spcBef>
                <a:spcPts val="900"/>
              </a:spcBef>
              <a:buClr>
                <a:schemeClr val="tx1"/>
              </a:buClr>
              <a:buFont typeface="Arial"/>
              <a:buNone/>
              <a:defRPr lang="pt-BR" sz="1500" b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588" indent="0" defTabSz="955675" eaLnBrk="0" hangingPunct="0">
              <a:spcBef>
                <a:spcPct val="20000"/>
              </a:spcBef>
              <a:buClr>
                <a:schemeClr val="tx1"/>
              </a:buClr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323850" indent="-171450" defTabSz="955675" eaLnBrk="0" hangingPunct="0">
              <a:spcBef>
                <a:spcPct val="20000"/>
              </a:spcBef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95300" indent="-150813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696913" indent="-200025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1541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6113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0685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5257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ts val="882"/>
              </a:spcAft>
              <a:buClr>
                <a:prstClr val="black"/>
              </a:buClr>
            </a:pP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Exemplo 1 de </a:t>
            </a:r>
            <a:r>
              <a:rPr sz="2646" dirty="0" err="1">
                <a:solidFill>
                  <a:prstClr val="black"/>
                </a:solidFill>
                <a:latin typeface="Simplon Oi Headline"/>
                <a:cs typeface="Simplon Oi Headline"/>
              </a:rPr>
              <a:t>Timeline</a:t>
            </a: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 para o projeto dividido por Frente/Sprint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3856079" y="1721208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1</a:t>
            </a:r>
          </a:p>
        </p:txBody>
      </p:sp>
      <p:sp>
        <p:nvSpPr>
          <p:cNvPr id="44" name="CaixaDeTexto 43"/>
          <p:cNvSpPr txBox="1"/>
          <p:nvPr/>
        </p:nvSpPr>
        <p:spPr>
          <a:xfrm>
            <a:off x="5607087" y="1711604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2</a:t>
            </a:r>
          </a:p>
        </p:txBody>
      </p:sp>
      <p:sp>
        <p:nvSpPr>
          <p:cNvPr id="45" name="CaixaDeTexto 44"/>
          <p:cNvSpPr txBox="1"/>
          <p:nvPr/>
        </p:nvSpPr>
        <p:spPr>
          <a:xfrm>
            <a:off x="7197854" y="1730810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3</a:t>
            </a:r>
          </a:p>
        </p:txBody>
      </p:sp>
      <p:cxnSp>
        <p:nvCxnSpPr>
          <p:cNvPr id="5" name="Conector reto 4"/>
          <p:cNvCxnSpPr/>
          <p:nvPr/>
        </p:nvCxnSpPr>
        <p:spPr>
          <a:xfrm>
            <a:off x="5053552" y="172597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to 46"/>
          <p:cNvCxnSpPr/>
          <p:nvPr/>
        </p:nvCxnSpPr>
        <p:spPr>
          <a:xfrm>
            <a:off x="6763386" y="172455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to 47"/>
          <p:cNvCxnSpPr/>
          <p:nvPr/>
        </p:nvCxnSpPr>
        <p:spPr>
          <a:xfrm>
            <a:off x="3413004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to 49"/>
          <p:cNvCxnSpPr/>
          <p:nvPr/>
        </p:nvCxnSpPr>
        <p:spPr>
          <a:xfrm>
            <a:off x="9997593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tângulo 3">
            <a:hlinkClick r:id="" action="ppaction://noaction"/>
            <a:extLst>
              <a:ext uri="{FF2B5EF4-FFF2-40B4-BE49-F238E27FC236}">
                <a16:creationId xmlns:a16="http://schemas.microsoft.com/office/drawing/2014/main" xmlns="" id="{1F0CBBDC-2315-430E-AEEA-C6591C07E4A2}"/>
              </a:ext>
            </a:extLst>
          </p:cNvPr>
          <p:cNvSpPr/>
          <p:nvPr/>
        </p:nvSpPr>
        <p:spPr>
          <a:xfrm>
            <a:off x="5229498" y="4261759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4D4D4D"/>
                </a:solidFill>
                <a:latin typeface="Simplon Oi Headline" pitchFamily="2" charset="0"/>
                <a:cs typeface="Simplon Oi Headline"/>
              </a:rPr>
              <a:t> Fundação e Construção</a:t>
            </a:r>
          </a:p>
        </p:txBody>
      </p:sp>
      <p:sp>
        <p:nvSpPr>
          <p:cNvPr id="9" name="Retângulo 8">
            <a:hlinkClick r:id="" action="ppaction://noaction"/>
            <a:extLst>
              <a:ext uri="{FF2B5EF4-FFF2-40B4-BE49-F238E27FC236}">
                <a16:creationId xmlns:a16="http://schemas.microsoft.com/office/drawing/2014/main" xmlns="" id="{52DD515D-7F63-4291-A3C3-68035A28B582}"/>
              </a:ext>
            </a:extLst>
          </p:cNvPr>
          <p:cNvSpPr/>
          <p:nvPr/>
        </p:nvSpPr>
        <p:spPr>
          <a:xfrm>
            <a:off x="10130642" y="4109233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F48D27"/>
                </a:solidFill>
                <a:latin typeface="Simplon Oi Headline" pitchFamily="2" charset="0"/>
                <a:cs typeface="Simplon Oi Headline"/>
              </a:rPr>
              <a:t> Construção e Implantação 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xmlns="" id="{C5380733-6F5D-4194-9AD2-D0B5F3C93AE1}"/>
              </a:ext>
            </a:extLst>
          </p:cNvPr>
          <p:cNvSpPr/>
          <p:nvPr/>
        </p:nvSpPr>
        <p:spPr>
          <a:xfrm>
            <a:off x="858729" y="2915861"/>
            <a:ext cx="211689" cy="211689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schemeClr val="tx1"/>
              </a:solidFill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xmlns="" id="{48C035DA-C79B-40E7-8C87-ED0980B37601}"/>
              </a:ext>
            </a:extLst>
          </p:cNvPr>
          <p:cNvSpPr txBox="1"/>
          <p:nvPr/>
        </p:nvSpPr>
        <p:spPr>
          <a:xfrm rot="16200000">
            <a:off x="-1703767" y="3060365"/>
            <a:ext cx="3947552" cy="42337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</p:spPr>
        <p:txBody>
          <a:bodyPr wrap="none" rtlCol="0" anchor="ctr">
            <a:noAutofit/>
          </a:bodyPr>
          <a:lstStyle>
            <a:defPPr>
              <a:defRPr lang="pt-BR"/>
            </a:defPPr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ctr"/>
            <a:r>
              <a:rPr lang="pt-BR" sz="1764" b="1" dirty="0" err="1">
                <a:solidFill>
                  <a:prstClr val="black"/>
                </a:solidFill>
                <a:latin typeface="Calibri" panose="020F0502020204030204" pitchFamily="34" charset="0"/>
              </a:rPr>
              <a:t>Backend</a:t>
            </a:r>
            <a:endParaRPr lang="pt-BR" sz="1764" b="1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xmlns="" id="{30B5B7B8-CF33-4805-88BA-E17C33356786}"/>
              </a:ext>
            </a:extLst>
          </p:cNvPr>
          <p:cNvCxnSpPr>
            <a:cxnSpLocks/>
          </p:cNvCxnSpPr>
          <p:nvPr/>
        </p:nvCxnSpPr>
        <p:spPr>
          <a:xfrm>
            <a:off x="8239947" y="1722606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CaixaDeTexto 54">
            <a:extLst>
              <a:ext uri="{FF2B5EF4-FFF2-40B4-BE49-F238E27FC236}">
                <a16:creationId xmlns:a16="http://schemas.microsoft.com/office/drawing/2014/main" xmlns="" id="{5C9EC840-FF5E-45B9-A112-87013926B770}"/>
              </a:ext>
            </a:extLst>
          </p:cNvPr>
          <p:cNvSpPr txBox="1"/>
          <p:nvPr/>
        </p:nvSpPr>
        <p:spPr>
          <a:xfrm>
            <a:off x="8646094" y="1708575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4</a:t>
            </a:r>
          </a:p>
        </p:txBody>
      </p:sp>
      <p:sp>
        <p:nvSpPr>
          <p:cNvPr id="63" name="Elipse 62">
            <a:extLst>
              <a:ext uri="{FF2B5EF4-FFF2-40B4-BE49-F238E27FC236}">
                <a16:creationId xmlns:a16="http://schemas.microsoft.com/office/drawing/2014/main" xmlns="" id="{E12AB2F3-8086-4DC1-AA1C-06995EAC28B9}"/>
              </a:ext>
            </a:extLst>
          </p:cNvPr>
          <p:cNvSpPr/>
          <p:nvPr/>
        </p:nvSpPr>
        <p:spPr>
          <a:xfrm>
            <a:off x="3909010" y="2915970"/>
            <a:ext cx="211689" cy="211689"/>
          </a:xfrm>
          <a:prstGeom prst="ellipse">
            <a:avLst/>
          </a:prstGeom>
          <a:solidFill>
            <a:srgbClr val="4D4D4D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prstClr val="white"/>
              </a:solidFill>
            </a:endParaRPr>
          </a:p>
        </p:txBody>
      </p:sp>
      <p:cxnSp>
        <p:nvCxnSpPr>
          <p:cNvPr id="64" name="Conector angulado 15">
            <a:extLst>
              <a:ext uri="{FF2B5EF4-FFF2-40B4-BE49-F238E27FC236}">
                <a16:creationId xmlns:a16="http://schemas.microsoft.com/office/drawing/2014/main" xmlns="" id="{F17307C4-DF1B-413B-A553-2F35F9B23221}"/>
              </a:ext>
            </a:extLst>
          </p:cNvPr>
          <p:cNvCxnSpPr>
            <a:cxnSpLocks/>
            <a:stCxn id="43" idx="2"/>
            <a:endCxn id="63" idx="0"/>
          </p:cNvCxnSpPr>
          <p:nvPr/>
        </p:nvCxnSpPr>
        <p:spPr>
          <a:xfrm rot="5400000">
            <a:off x="4410392" y="2172839"/>
            <a:ext cx="347594" cy="1138668"/>
          </a:xfrm>
          <a:prstGeom prst="bentConnector3">
            <a:avLst>
              <a:gd name="adj1" fmla="val 50000"/>
            </a:avLst>
          </a:prstGeom>
          <a:ln>
            <a:solidFill>
              <a:srgbClr val="4D4D4D"/>
            </a:solidFill>
            <a:prstDash val="sysDash"/>
            <a:head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5154534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Rectangle 20"/>
          <p:cNvSpPr>
            <a:spLocks noChangeArrowheads="1"/>
          </p:cNvSpPr>
          <p:nvPr/>
        </p:nvSpPr>
        <p:spPr bwMode="auto">
          <a:xfrm>
            <a:off x="12462383" y="2027832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7" name="Rectangle 20"/>
          <p:cNvSpPr>
            <a:spLocks noChangeArrowheads="1"/>
          </p:cNvSpPr>
          <p:nvPr/>
        </p:nvSpPr>
        <p:spPr bwMode="auto">
          <a:xfrm>
            <a:off x="10709558" y="2027832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8" name="Rectangle 70"/>
          <p:cNvSpPr>
            <a:spLocks noChangeArrowheads="1"/>
          </p:cNvSpPr>
          <p:nvPr/>
        </p:nvSpPr>
        <p:spPr bwMode="auto">
          <a:xfrm>
            <a:off x="11585971" y="2027832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60" name="Title 2"/>
          <p:cNvSpPr>
            <a:spLocks noGrp="1"/>
          </p:cNvSpPr>
          <p:nvPr>
            <p:ph type="title"/>
          </p:nvPr>
        </p:nvSpPr>
        <p:spPr>
          <a:xfrm>
            <a:off x="260886" y="161534"/>
            <a:ext cx="12131620" cy="572501"/>
          </a:xfrm>
        </p:spPr>
        <p:txBody>
          <a:bodyPr lIns="105844" tIns="0" rIns="105844" bIns="0" anchor="t">
            <a:noAutofit/>
          </a:bodyPr>
          <a:lstStyle/>
          <a:p>
            <a:pPr>
              <a:lnSpc>
                <a:spcPct val="100000"/>
              </a:lnSpc>
              <a:spcAft>
                <a:spcPts val="882"/>
              </a:spcAft>
              <a:buClr>
                <a:prstClr val="black"/>
              </a:buClr>
            </a:pPr>
            <a:r>
              <a:rPr lang="pt-BR" sz="2646" dirty="0">
                <a:solidFill>
                  <a:prstClr val="black"/>
                </a:solidFill>
                <a:latin typeface="Simplon Oi Headline" pitchFamily="2" charset="0"/>
                <a:cs typeface="Arial" panose="020B0604020202020204" pitchFamily="34" charset="0"/>
              </a:rPr>
              <a:t>Exemplo 2 de </a:t>
            </a:r>
            <a:r>
              <a:rPr lang="pt-BR" sz="2646" dirty="0" err="1">
                <a:solidFill>
                  <a:prstClr val="black"/>
                </a:solidFill>
                <a:latin typeface="Simplon Oi Headline" pitchFamily="2" charset="0"/>
                <a:cs typeface="Arial" panose="020B0604020202020204" pitchFamily="34" charset="0"/>
              </a:rPr>
              <a:t>Timeline</a:t>
            </a:r>
            <a:r>
              <a:rPr lang="pt-BR" sz="2646" dirty="0">
                <a:solidFill>
                  <a:prstClr val="black"/>
                </a:solidFill>
                <a:latin typeface="Simplon Oi Headline" pitchFamily="2" charset="0"/>
                <a:cs typeface="Arial" panose="020B0604020202020204" pitchFamily="34" charset="0"/>
              </a:rPr>
              <a:t> para o projeto por semana</a:t>
            </a:r>
            <a:endParaRPr lang="en-US" sz="2646" dirty="0">
              <a:solidFill>
                <a:prstClr val="black"/>
              </a:solidFill>
              <a:latin typeface="Simplon Oi Headline" pitchFamily="2" charset="0"/>
              <a:cs typeface="Arial" panose="020B0604020202020204" pitchFamily="34" charset="0"/>
            </a:endParaRPr>
          </a:p>
        </p:txBody>
      </p:sp>
      <p:sp>
        <p:nvSpPr>
          <p:cNvPr id="74" name="Rectangle 20"/>
          <p:cNvSpPr>
            <a:spLocks noChangeArrowheads="1"/>
          </p:cNvSpPr>
          <p:nvPr/>
        </p:nvSpPr>
        <p:spPr bwMode="auto">
          <a:xfrm>
            <a:off x="167688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5" name="Rectangle 70"/>
          <p:cNvSpPr>
            <a:spLocks noChangeArrowheads="1"/>
          </p:cNvSpPr>
          <p:nvPr/>
        </p:nvSpPr>
        <p:spPr bwMode="auto">
          <a:xfrm>
            <a:off x="1060461" y="2089776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7" name="Rectangle 20"/>
          <p:cNvSpPr>
            <a:spLocks noChangeArrowheads="1"/>
          </p:cNvSpPr>
          <p:nvPr/>
        </p:nvSpPr>
        <p:spPr bwMode="auto">
          <a:xfrm>
            <a:off x="1920513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8" name="Rectangle 70"/>
          <p:cNvSpPr>
            <a:spLocks noChangeArrowheads="1"/>
          </p:cNvSpPr>
          <p:nvPr/>
        </p:nvSpPr>
        <p:spPr bwMode="auto">
          <a:xfrm>
            <a:off x="2796926" y="2080767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9" name="Rectangle 20"/>
          <p:cNvSpPr>
            <a:spLocks noChangeArrowheads="1"/>
          </p:cNvSpPr>
          <p:nvPr/>
        </p:nvSpPr>
        <p:spPr bwMode="auto">
          <a:xfrm>
            <a:off x="3673339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0" name="Rectangle 70"/>
          <p:cNvSpPr>
            <a:spLocks noChangeArrowheads="1"/>
          </p:cNvSpPr>
          <p:nvPr/>
        </p:nvSpPr>
        <p:spPr bwMode="auto">
          <a:xfrm>
            <a:off x="4549751" y="2035960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1" name="Rectangle 20"/>
          <p:cNvSpPr>
            <a:spLocks noChangeArrowheads="1"/>
          </p:cNvSpPr>
          <p:nvPr/>
        </p:nvSpPr>
        <p:spPr bwMode="auto">
          <a:xfrm>
            <a:off x="5426164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2" name="Rectangle 70"/>
          <p:cNvSpPr>
            <a:spLocks noChangeArrowheads="1"/>
          </p:cNvSpPr>
          <p:nvPr/>
        </p:nvSpPr>
        <p:spPr bwMode="auto">
          <a:xfrm>
            <a:off x="6302576" y="2035960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3" name="Rectangle 20"/>
          <p:cNvSpPr>
            <a:spLocks noChangeArrowheads="1"/>
          </p:cNvSpPr>
          <p:nvPr/>
        </p:nvSpPr>
        <p:spPr bwMode="auto">
          <a:xfrm>
            <a:off x="7178989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4" name="Rectangle 70"/>
          <p:cNvSpPr>
            <a:spLocks noChangeArrowheads="1"/>
          </p:cNvSpPr>
          <p:nvPr/>
        </p:nvSpPr>
        <p:spPr bwMode="auto">
          <a:xfrm>
            <a:off x="8010995" y="2089776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5" name="Rectangle 20"/>
          <p:cNvSpPr>
            <a:spLocks noChangeArrowheads="1"/>
          </p:cNvSpPr>
          <p:nvPr/>
        </p:nvSpPr>
        <p:spPr bwMode="auto">
          <a:xfrm>
            <a:off x="8931814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6" name="Rectangle 22"/>
          <p:cNvSpPr>
            <a:spLocks noChangeArrowheads="1"/>
          </p:cNvSpPr>
          <p:nvPr/>
        </p:nvSpPr>
        <p:spPr bwMode="auto">
          <a:xfrm>
            <a:off x="7178989" y="3894040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06" name="AutoShape 54"/>
          <p:cNvSpPr>
            <a:spLocks noChangeArrowheads="1"/>
          </p:cNvSpPr>
          <p:nvPr/>
        </p:nvSpPr>
        <p:spPr bwMode="auto">
          <a:xfrm>
            <a:off x="3743219" y="4827548"/>
            <a:ext cx="3365893" cy="1477910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defTabSz="1344259" eaLnBrk="0" hangingPunct="0"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Criação de Artefatos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Caderno de Testes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Plano de WWWWW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Plano de XXXXXXXX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Desenho YYYYYYYY</a:t>
            </a:r>
          </a:p>
        </p:txBody>
      </p:sp>
      <p:sp>
        <p:nvSpPr>
          <p:cNvPr id="107" name="AutoShape 54"/>
          <p:cNvSpPr>
            <a:spLocks noChangeArrowheads="1"/>
          </p:cNvSpPr>
          <p:nvPr/>
        </p:nvSpPr>
        <p:spPr bwMode="auto">
          <a:xfrm>
            <a:off x="-89141" y="2737552"/>
            <a:ext cx="1780576" cy="1208661"/>
          </a:xfrm>
          <a:prstGeom prst="homePlate">
            <a:avLst>
              <a:gd name="adj" fmla="val 16364"/>
            </a:avLst>
          </a:prstGeom>
          <a:noFill/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Definição dos Grupos</a:t>
            </a:r>
          </a:p>
        </p:txBody>
      </p:sp>
      <p:sp>
        <p:nvSpPr>
          <p:cNvPr id="108" name="AutoShape 54"/>
          <p:cNvSpPr>
            <a:spLocks noChangeArrowheads="1"/>
          </p:cNvSpPr>
          <p:nvPr/>
        </p:nvSpPr>
        <p:spPr bwMode="auto">
          <a:xfrm>
            <a:off x="1723681" y="5193771"/>
            <a:ext cx="1810455" cy="1111687"/>
          </a:xfrm>
          <a:prstGeom prst="homePlate">
            <a:avLst>
              <a:gd name="adj" fmla="val 16364"/>
            </a:avLst>
          </a:prstGeom>
          <a:noFill/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kern="0" dirty="0">
                <a:solidFill>
                  <a:schemeClr val="tx1"/>
                </a:solidFill>
                <a:latin typeface="Arial"/>
                <a:cs typeface="Calibri" pitchFamily="34" charset="0"/>
              </a:rPr>
              <a:t>Validação do Professor </a:t>
            </a:r>
            <a:r>
              <a:rPr lang="pt-BR" sz="1764" kern="0" dirty="0" err="1">
                <a:solidFill>
                  <a:schemeClr val="tx1"/>
                </a:solidFill>
                <a:latin typeface="Arial"/>
                <a:cs typeface="Calibri" pitchFamily="34" charset="0"/>
              </a:rPr>
              <a:t>xxxx</a:t>
            </a:r>
            <a:endParaRPr lang="pt-BR" sz="1764" kern="0" dirty="0">
              <a:solidFill>
                <a:schemeClr val="tx1"/>
              </a:solidFill>
              <a:latin typeface="Arial"/>
              <a:cs typeface="Calibri" pitchFamily="34" charset="0"/>
            </a:endParaRPr>
          </a:p>
        </p:txBody>
      </p:sp>
      <p:sp>
        <p:nvSpPr>
          <p:cNvPr id="110" name="AutoShape 54"/>
          <p:cNvSpPr>
            <a:spLocks noChangeArrowheads="1"/>
          </p:cNvSpPr>
          <p:nvPr/>
        </p:nvSpPr>
        <p:spPr bwMode="auto">
          <a:xfrm>
            <a:off x="7223797" y="5654873"/>
            <a:ext cx="3377067" cy="1008548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Setup XXXX do Ambiente de teste e execução da homologação da ambiente</a:t>
            </a:r>
          </a:p>
        </p:txBody>
      </p:sp>
      <p:sp>
        <p:nvSpPr>
          <p:cNvPr id="118" name="AutoShape 54"/>
          <p:cNvSpPr>
            <a:spLocks noChangeArrowheads="1"/>
          </p:cNvSpPr>
          <p:nvPr/>
        </p:nvSpPr>
        <p:spPr bwMode="auto">
          <a:xfrm>
            <a:off x="16418889" y="5790512"/>
            <a:ext cx="229875" cy="444547"/>
          </a:xfrm>
          <a:prstGeom prst="homePlate">
            <a:avLst>
              <a:gd name="adj" fmla="val 16364"/>
            </a:avLst>
          </a:prstGeom>
          <a:solidFill>
            <a:srgbClr val="006699">
              <a:lumMod val="60000"/>
              <a:lumOff val="40000"/>
            </a:srgbClr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vert="vert270" anchor="ctr"/>
          <a:lstStyle/>
          <a:p>
            <a:pPr algn="ctr" defTabSz="1344259" eaLnBrk="0" hangingPunct="0">
              <a:defRPr/>
            </a:pPr>
            <a:endParaRPr lang="pt-BR" sz="1323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1" name="AutoShape 54"/>
          <p:cNvSpPr>
            <a:spLocks noChangeArrowheads="1"/>
          </p:cNvSpPr>
          <p:nvPr/>
        </p:nvSpPr>
        <p:spPr bwMode="auto">
          <a:xfrm>
            <a:off x="11187351" y="6392768"/>
            <a:ext cx="2151446" cy="962396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b="1" kern="0" dirty="0">
                <a:solidFill>
                  <a:schemeClr val="tx1"/>
                </a:solidFill>
                <a:latin typeface="Arial"/>
                <a:cs typeface="Calibri" pitchFamily="34" charset="0"/>
              </a:rPr>
              <a:t>Inicio </a:t>
            </a:r>
            <a:r>
              <a:rPr lang="pt-BR" sz="1764" b="1" kern="0" dirty="0" err="1">
                <a:solidFill>
                  <a:schemeClr val="tx1"/>
                </a:solidFill>
                <a:latin typeface="Arial"/>
                <a:cs typeface="Calibri" pitchFamily="34" charset="0"/>
              </a:rPr>
              <a:t>Rollout</a:t>
            </a:r>
            <a:endParaRPr lang="pt-BR" sz="1764" b="1" kern="0" dirty="0">
              <a:solidFill>
                <a:schemeClr val="tx1"/>
              </a:solidFill>
              <a:latin typeface="Arial"/>
              <a:cs typeface="Calibri" pitchFamily="34" charset="0"/>
            </a:endParaRPr>
          </a:p>
        </p:txBody>
      </p:sp>
      <p:sp>
        <p:nvSpPr>
          <p:cNvPr id="122" name="AutoShape 54"/>
          <p:cNvSpPr>
            <a:spLocks noChangeArrowheads="1"/>
          </p:cNvSpPr>
          <p:nvPr/>
        </p:nvSpPr>
        <p:spPr bwMode="auto">
          <a:xfrm>
            <a:off x="727573" y="3890798"/>
            <a:ext cx="1693147" cy="1047600"/>
          </a:xfrm>
          <a:prstGeom prst="homePlate">
            <a:avLst>
              <a:gd name="adj" fmla="val 16364"/>
            </a:avLst>
          </a:prstGeom>
          <a:noFill/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Definição do Tema </a:t>
            </a:r>
            <a:r>
              <a:rPr lang="pt-BR" sz="1764" kern="0" dirty="0" err="1">
                <a:solidFill>
                  <a:srgbClr val="000000"/>
                </a:solidFill>
                <a:latin typeface="Arial"/>
                <a:cs typeface="Calibri" pitchFamily="34" charset="0"/>
              </a:rPr>
              <a:t>xxx</a:t>
            </a:r>
            <a:endParaRPr lang="pt-BR" sz="1764" kern="0" dirty="0">
              <a:solidFill>
                <a:srgbClr val="000000"/>
              </a:solidFill>
              <a:latin typeface="Arial"/>
              <a:cs typeface="Calibri" pitchFamily="34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297804" y="2332557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12</a:t>
            </a:r>
          </a:p>
        </p:txBody>
      </p:sp>
      <p:sp>
        <p:nvSpPr>
          <p:cNvPr id="125" name="CaixaDeTexto 124"/>
          <p:cNvSpPr txBox="1"/>
          <p:nvPr/>
        </p:nvSpPr>
        <p:spPr>
          <a:xfrm>
            <a:off x="9002471" y="5168354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12</a:t>
            </a:r>
          </a:p>
        </p:txBody>
      </p:sp>
      <p:sp>
        <p:nvSpPr>
          <p:cNvPr id="126" name="CaixaDeTexto 125"/>
          <p:cNvSpPr txBox="1"/>
          <p:nvPr/>
        </p:nvSpPr>
        <p:spPr>
          <a:xfrm>
            <a:off x="2076687" y="4635522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9/12</a:t>
            </a:r>
          </a:p>
        </p:txBody>
      </p:sp>
      <p:sp>
        <p:nvSpPr>
          <p:cNvPr id="7" name="Estrela de 5 Pontas 6"/>
          <p:cNvSpPr/>
          <p:nvPr/>
        </p:nvSpPr>
        <p:spPr>
          <a:xfrm>
            <a:off x="10610308" y="5785542"/>
            <a:ext cx="535195" cy="633657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8" name="Texto Explicativo Retangular 7"/>
          <p:cNvSpPr/>
          <p:nvPr/>
        </p:nvSpPr>
        <p:spPr>
          <a:xfrm>
            <a:off x="11065441" y="2900210"/>
            <a:ext cx="2445102" cy="1895515"/>
          </a:xfrm>
          <a:prstGeom prst="wedgeRectCallout">
            <a:avLst>
              <a:gd name="adj1" fmla="val -50624"/>
              <a:gd name="adj2" fmla="val 100442"/>
            </a:avLst>
          </a:prstGeom>
          <a:solidFill>
            <a:schemeClr val="bg1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764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idação dos resultados dos testes com acordo de todos os envolvidos XXXX  </a:t>
            </a:r>
          </a:p>
        </p:txBody>
      </p:sp>
      <p:sp>
        <p:nvSpPr>
          <p:cNvPr id="131" name="AutoShape 54"/>
          <p:cNvSpPr>
            <a:spLocks noChangeArrowheads="1"/>
          </p:cNvSpPr>
          <p:nvPr/>
        </p:nvSpPr>
        <p:spPr bwMode="auto">
          <a:xfrm>
            <a:off x="10639680" y="1459955"/>
            <a:ext cx="2685218" cy="632030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4</a:t>
            </a:r>
          </a:p>
        </p:txBody>
      </p:sp>
      <p:sp>
        <p:nvSpPr>
          <p:cNvPr id="124" name="AutoShape 54"/>
          <p:cNvSpPr>
            <a:spLocks noChangeArrowheads="1"/>
          </p:cNvSpPr>
          <p:nvPr/>
        </p:nvSpPr>
        <p:spPr bwMode="auto">
          <a:xfrm>
            <a:off x="7065000" y="1453832"/>
            <a:ext cx="3739127" cy="638151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3</a:t>
            </a:r>
          </a:p>
        </p:txBody>
      </p:sp>
      <p:sp>
        <p:nvSpPr>
          <p:cNvPr id="105" name="AutoShape 54"/>
          <p:cNvSpPr>
            <a:spLocks noChangeArrowheads="1"/>
          </p:cNvSpPr>
          <p:nvPr/>
        </p:nvSpPr>
        <p:spPr bwMode="auto">
          <a:xfrm>
            <a:off x="3648268" y="1453832"/>
            <a:ext cx="3575528" cy="638151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2</a:t>
            </a:r>
          </a:p>
        </p:txBody>
      </p:sp>
      <p:sp>
        <p:nvSpPr>
          <p:cNvPr id="104" name="AutoShape 54"/>
          <p:cNvSpPr>
            <a:spLocks noChangeArrowheads="1"/>
          </p:cNvSpPr>
          <p:nvPr/>
        </p:nvSpPr>
        <p:spPr bwMode="auto">
          <a:xfrm>
            <a:off x="167689" y="1454616"/>
            <a:ext cx="3671172" cy="645150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1</a:t>
            </a:r>
          </a:p>
        </p:txBody>
      </p:sp>
      <p:sp>
        <p:nvSpPr>
          <p:cNvPr id="9" name="Elipse 8"/>
          <p:cNvSpPr/>
          <p:nvPr/>
        </p:nvSpPr>
        <p:spPr>
          <a:xfrm>
            <a:off x="596716" y="2707507"/>
            <a:ext cx="296134" cy="32573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134" name="Elipse 133"/>
          <p:cNvSpPr/>
          <p:nvPr/>
        </p:nvSpPr>
        <p:spPr>
          <a:xfrm>
            <a:off x="1369269" y="3804783"/>
            <a:ext cx="296134" cy="32573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135" name="Elipse 134"/>
          <p:cNvSpPr/>
          <p:nvPr/>
        </p:nvSpPr>
        <p:spPr>
          <a:xfrm>
            <a:off x="2346513" y="4999650"/>
            <a:ext cx="296134" cy="32573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2" name="AutoShape 54">
            <a:extLst>
              <a:ext uri="{FF2B5EF4-FFF2-40B4-BE49-F238E27FC236}">
                <a16:creationId xmlns:a16="http://schemas.microsoft.com/office/drawing/2014/main" xmlns="" id="{E9E56096-A37E-4E04-B585-F38CE69E2C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797" y="4495376"/>
            <a:ext cx="1838374" cy="1008548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b="1" kern="0" dirty="0" err="1">
                <a:solidFill>
                  <a:srgbClr val="000000"/>
                </a:solidFill>
                <a:latin typeface="Arial"/>
                <a:cs typeface="Calibri" pitchFamily="34" charset="0"/>
              </a:rPr>
              <a:t>Desenv</a:t>
            </a: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 da Aplicação XPTO</a:t>
            </a:r>
          </a:p>
        </p:txBody>
      </p:sp>
      <p:sp>
        <p:nvSpPr>
          <p:cNvPr id="3" name="Estrela de 5 Pontas 6">
            <a:extLst>
              <a:ext uri="{FF2B5EF4-FFF2-40B4-BE49-F238E27FC236}">
                <a16:creationId xmlns:a16="http://schemas.microsoft.com/office/drawing/2014/main" xmlns="" id="{AD16236F-7568-4F98-A604-6EC65AD0D66C}"/>
              </a:ext>
            </a:extLst>
          </p:cNvPr>
          <p:cNvSpPr/>
          <p:nvPr/>
        </p:nvSpPr>
        <p:spPr>
          <a:xfrm>
            <a:off x="9106979" y="4586208"/>
            <a:ext cx="535195" cy="633657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5" name="Texto Explicativo Retangular 7">
            <a:extLst>
              <a:ext uri="{FF2B5EF4-FFF2-40B4-BE49-F238E27FC236}">
                <a16:creationId xmlns:a16="http://schemas.microsoft.com/office/drawing/2014/main" xmlns="" id="{A7519FE8-CE66-44F1-85D2-72BA40AEFFE9}"/>
              </a:ext>
            </a:extLst>
          </p:cNvPr>
          <p:cNvSpPr/>
          <p:nvPr/>
        </p:nvSpPr>
        <p:spPr>
          <a:xfrm>
            <a:off x="8055403" y="2738144"/>
            <a:ext cx="2445102" cy="709690"/>
          </a:xfrm>
          <a:prstGeom prst="wedgeRectCallout">
            <a:avLst>
              <a:gd name="adj1" fmla="val 2037"/>
              <a:gd name="adj2" fmla="val 178182"/>
            </a:avLst>
          </a:prstGeom>
          <a:solidFill>
            <a:schemeClr val="bg1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764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loy</a:t>
            </a:r>
            <a:r>
              <a:rPr lang="pt-BR" sz="1764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m ambiente de testes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xmlns="" id="{DF44FE3B-8CD1-4551-B052-AB416A48BF0F}"/>
              </a:ext>
            </a:extLst>
          </p:cNvPr>
          <p:cNvSpPr txBox="1"/>
          <p:nvPr/>
        </p:nvSpPr>
        <p:spPr>
          <a:xfrm>
            <a:off x="1102263" y="3392028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9/12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xmlns="" id="{11EF466B-D50F-49BE-8901-F4314447EC7A}"/>
              </a:ext>
            </a:extLst>
          </p:cNvPr>
          <p:cNvSpPr txBox="1"/>
          <p:nvPr/>
        </p:nvSpPr>
        <p:spPr>
          <a:xfrm>
            <a:off x="10453916" y="6540130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12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xmlns="" id="{11F63061-82C5-4CBE-AF39-7668F95413AC}"/>
              </a:ext>
            </a:extLst>
          </p:cNvPr>
          <p:cNvSpPr txBox="1"/>
          <p:nvPr/>
        </p:nvSpPr>
        <p:spPr>
          <a:xfrm>
            <a:off x="4524581" y="3842528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12</a:t>
            </a:r>
          </a:p>
        </p:txBody>
      </p:sp>
      <p:sp>
        <p:nvSpPr>
          <p:cNvPr id="13" name="Estrela de 5 Pontas 6">
            <a:extLst>
              <a:ext uri="{FF2B5EF4-FFF2-40B4-BE49-F238E27FC236}">
                <a16:creationId xmlns:a16="http://schemas.microsoft.com/office/drawing/2014/main" xmlns="" id="{AD22261C-D7D8-4F88-A384-FA0A3A6B653B}"/>
              </a:ext>
            </a:extLst>
          </p:cNvPr>
          <p:cNvSpPr/>
          <p:nvPr/>
        </p:nvSpPr>
        <p:spPr>
          <a:xfrm>
            <a:off x="4629088" y="3260383"/>
            <a:ext cx="535195" cy="633657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14" name="AutoShape 54">
            <a:extLst>
              <a:ext uri="{FF2B5EF4-FFF2-40B4-BE49-F238E27FC236}">
                <a16:creationId xmlns:a16="http://schemas.microsoft.com/office/drawing/2014/main" xmlns="" id="{50F5334B-AE01-42AE-9885-3F4B46D4DC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688" y="807671"/>
            <a:ext cx="13101230" cy="587950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print 1</a:t>
            </a:r>
          </a:p>
        </p:txBody>
      </p:sp>
    </p:spTree>
    <p:extLst>
      <p:ext uri="{BB962C8B-B14F-4D97-AF65-F5344CB8AC3E}">
        <p14:creationId xmlns:p14="http://schemas.microsoft.com/office/powerpoint/2010/main" val="31031464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2"/>
          <p:cNvSpPr>
            <a:spLocks noGrp="1"/>
          </p:cNvSpPr>
          <p:nvPr>
            <p:ph type="title"/>
          </p:nvPr>
        </p:nvSpPr>
        <p:spPr>
          <a:xfrm>
            <a:off x="301827" y="329114"/>
            <a:ext cx="12131620" cy="572501"/>
          </a:xfrm>
        </p:spPr>
        <p:txBody>
          <a:bodyPr lIns="105844" tIns="0" rIns="105844" bIns="0" anchor="t">
            <a:noAutofit/>
          </a:bodyPr>
          <a:lstStyle/>
          <a:p>
            <a:pPr>
              <a:lnSpc>
                <a:spcPct val="100000"/>
              </a:lnSpc>
              <a:spcAft>
                <a:spcPts val="882"/>
              </a:spcAft>
            </a:pPr>
            <a:r>
              <a:rPr lang="pt-BR" sz="3528" dirty="0">
                <a:solidFill>
                  <a:schemeClr val="tx1"/>
                </a:solidFill>
              </a:rPr>
              <a:t>Ex. ArquiteturaV1</a:t>
            </a:r>
            <a:endParaRPr lang="en-US" sz="3528" dirty="0">
              <a:solidFill>
                <a:schemeClr val="tx1"/>
              </a:solidFill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xmlns="" id="{429E1994-3E55-4E42-8049-0E4CEA6809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9700" y="1638273"/>
            <a:ext cx="8770929" cy="4852277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xmlns="" id="{2EC4C4E3-DDB0-406B-A82F-A1D1FF8FD7E3}"/>
              </a:ext>
            </a:extLst>
          </p:cNvPr>
          <p:cNvSpPr/>
          <p:nvPr/>
        </p:nvSpPr>
        <p:spPr>
          <a:xfrm>
            <a:off x="7397621" y="6425023"/>
            <a:ext cx="6164295" cy="454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defRPr/>
            </a:pPr>
            <a:r>
              <a:rPr lang="pt-BR" sz="1323" b="1" dirty="0">
                <a:latin typeface="Calibri" panose="020F0502020204030204" pitchFamily="34" charset="0"/>
                <a:cs typeface="Simplon BP Regular"/>
              </a:rPr>
              <a:t>Exemplo meramente ilustrativo. Fonte Arquiteturas de referencia </a:t>
            </a:r>
            <a:r>
              <a:rPr lang="pt-BR" sz="1323" b="1" dirty="0" err="1">
                <a:latin typeface="Calibri" panose="020F0502020204030204" pitchFamily="34" charset="0"/>
                <a:cs typeface="Simplon BP Regular"/>
              </a:rPr>
              <a:t>Microsof</a:t>
            </a:r>
            <a:endParaRPr lang="pt-BR" sz="1029" b="1" dirty="0">
              <a:latin typeface="Calibri" panose="020F0502020204030204" pitchFamily="34" charset="0"/>
              <a:cs typeface="Simplon BP Regular"/>
            </a:endParaRPr>
          </a:p>
          <a:p>
            <a:pPr fontAlgn="base">
              <a:spcBef>
                <a:spcPct val="0"/>
              </a:spcBef>
              <a:defRPr/>
            </a:pPr>
            <a:r>
              <a:rPr lang="pt-BR" sz="1029" dirty="0">
                <a:hlinkClick r:id="rId3"/>
              </a:rPr>
              <a:t>https://docs.microsoft.com/en-us/azure/architecture/solution-ideas/articles/ai-at-the-edge</a:t>
            </a:r>
            <a:r>
              <a:rPr lang="pt-BR" sz="1029" b="1" dirty="0">
                <a:latin typeface="Calibri" panose="020F0502020204030204" pitchFamily="34" charset="0"/>
                <a:cs typeface="Simplon BP Regular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715861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2"/>
          <p:cNvSpPr>
            <a:spLocks noGrp="1"/>
          </p:cNvSpPr>
          <p:nvPr>
            <p:ph type="title"/>
          </p:nvPr>
        </p:nvSpPr>
        <p:spPr>
          <a:xfrm>
            <a:off x="301827" y="329114"/>
            <a:ext cx="12131620" cy="572501"/>
          </a:xfrm>
        </p:spPr>
        <p:txBody>
          <a:bodyPr lIns="105844" tIns="0" rIns="105844" bIns="0" anchor="t">
            <a:noAutofit/>
          </a:bodyPr>
          <a:lstStyle/>
          <a:p>
            <a:pPr>
              <a:lnSpc>
                <a:spcPct val="100000"/>
              </a:lnSpc>
              <a:spcAft>
                <a:spcPts val="882"/>
              </a:spcAft>
            </a:pPr>
            <a:r>
              <a:rPr lang="pt-BR" sz="3528" dirty="0">
                <a:solidFill>
                  <a:schemeClr val="tx1"/>
                </a:solidFill>
              </a:rPr>
              <a:t>Ex. ArquiteturaV2</a:t>
            </a:r>
            <a:endParaRPr lang="en-US" sz="3528" dirty="0">
              <a:solidFill>
                <a:schemeClr val="tx1"/>
              </a:solidFill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xmlns="" id="{429E1994-3E55-4E42-8049-0E4CEA6809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9700" y="1638273"/>
            <a:ext cx="8770929" cy="4852277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xmlns="" id="{2EC4C4E3-DDB0-406B-A82F-A1D1FF8FD7E3}"/>
              </a:ext>
            </a:extLst>
          </p:cNvPr>
          <p:cNvSpPr/>
          <p:nvPr/>
        </p:nvSpPr>
        <p:spPr>
          <a:xfrm>
            <a:off x="7397621" y="6425023"/>
            <a:ext cx="6164295" cy="454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defRPr/>
            </a:pPr>
            <a:r>
              <a:rPr lang="pt-BR" sz="1323" b="1" dirty="0">
                <a:latin typeface="Calibri" panose="020F0502020204030204" pitchFamily="34" charset="0"/>
                <a:cs typeface="Simplon BP Regular"/>
              </a:rPr>
              <a:t>Exemplo meramente ilustrativo. Fonte Arquiteturas de referencia </a:t>
            </a:r>
            <a:r>
              <a:rPr lang="pt-BR" sz="1323" b="1" dirty="0" err="1">
                <a:latin typeface="Calibri" panose="020F0502020204030204" pitchFamily="34" charset="0"/>
                <a:cs typeface="Simplon BP Regular"/>
              </a:rPr>
              <a:t>Microsof</a:t>
            </a:r>
            <a:endParaRPr lang="pt-BR" sz="1029" b="1" dirty="0">
              <a:latin typeface="Calibri" panose="020F0502020204030204" pitchFamily="34" charset="0"/>
              <a:cs typeface="Simplon BP Regular"/>
            </a:endParaRPr>
          </a:p>
          <a:p>
            <a:pPr fontAlgn="base">
              <a:spcBef>
                <a:spcPct val="0"/>
              </a:spcBef>
              <a:defRPr/>
            </a:pPr>
            <a:r>
              <a:rPr lang="pt-BR" sz="1029" dirty="0">
                <a:hlinkClick r:id="rId3"/>
              </a:rPr>
              <a:t>https://docs.microsoft.com/en-us/azure/architecture/solution-ideas/articles/ai-at-the-edge</a:t>
            </a:r>
            <a:r>
              <a:rPr lang="pt-BR" sz="1029" b="1" dirty="0">
                <a:latin typeface="Calibri" panose="020F0502020204030204" pitchFamily="34" charset="0"/>
                <a:cs typeface="Simplon BP Regular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064229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UoH135xkKn7JAvLhvVd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6Olsd.iU6lEer2z_MI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XbLZbtwE2_jMKq0Eee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p6Y2n3A0O6aRqeB2QZ3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tZQjMLDE.cpcKHQ3Yn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WciZmaYEeWJZf4ijlc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UoH135xkKn7JAvLhvV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6Olsd.iU6lEer2z_MI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as">
  <a:themeElements>
    <a:clrScheme name="Best">
      <a:dk1>
        <a:sysClr val="windowText" lastClr="000000"/>
      </a:dk1>
      <a:lt1>
        <a:sysClr val="window" lastClr="FFFFFF"/>
      </a:lt1>
      <a:dk2>
        <a:srgbClr val="253746"/>
      </a:dk2>
      <a:lt2>
        <a:srgbClr val="EEECE1"/>
      </a:lt2>
      <a:accent1>
        <a:srgbClr val="32B9CD"/>
      </a:accent1>
      <a:accent2>
        <a:srgbClr val="CE0F69"/>
      </a:accent2>
      <a:accent3>
        <a:srgbClr val="9BBB59"/>
      </a:accent3>
      <a:accent4>
        <a:srgbClr val="292C3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Best">
    <a:dk1>
      <a:sysClr val="windowText" lastClr="000000"/>
    </a:dk1>
    <a:lt1>
      <a:sysClr val="window" lastClr="FFFFFF"/>
    </a:lt1>
    <a:dk2>
      <a:srgbClr val="253746"/>
    </a:dk2>
    <a:lt2>
      <a:srgbClr val="EEECE1"/>
    </a:lt2>
    <a:accent1>
      <a:srgbClr val="32B9CD"/>
    </a:accent1>
    <a:accent2>
      <a:srgbClr val="CE0F69"/>
    </a:accent2>
    <a:accent3>
      <a:srgbClr val="9BBB59"/>
    </a:accent3>
    <a:accent4>
      <a:srgbClr val="292C34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s_Collaboration_Space_Locked xmlns="bbcd8c33-6940-4d4c-a587-bbc736ca1e4d" xsi:nil="true"/>
    <TeamsChannelId xmlns="bbcd8c33-6940-4d4c-a587-bbc736ca1e4d" xsi:nil="true"/>
    <Self_Registration_Enabled xmlns="bbcd8c33-6940-4d4c-a587-bbc736ca1e4d" xsi:nil="true"/>
    <Math_Settings xmlns="bbcd8c33-6940-4d4c-a587-bbc736ca1e4d" xsi:nil="true"/>
    <AppVersion xmlns="bbcd8c33-6940-4d4c-a587-bbc736ca1e4d" xsi:nil="true"/>
    <Invited_Teachers xmlns="bbcd8c33-6940-4d4c-a587-bbc736ca1e4d" xsi:nil="true"/>
    <LMS_Mappings xmlns="bbcd8c33-6940-4d4c-a587-bbc736ca1e4d" xsi:nil="true"/>
    <IsNotebookLocked xmlns="bbcd8c33-6940-4d4c-a587-bbc736ca1e4d" xsi:nil="true"/>
    <NotebookType xmlns="bbcd8c33-6940-4d4c-a587-bbc736ca1e4d" xsi:nil="true"/>
    <Templates xmlns="bbcd8c33-6940-4d4c-a587-bbc736ca1e4d" xsi:nil="true"/>
    <Owner xmlns="bbcd8c33-6940-4d4c-a587-bbc736ca1e4d">
      <UserInfo>
        <DisplayName/>
        <AccountId xsi:nil="true"/>
        <AccountType/>
      </UserInfo>
    </Owner>
    <Teachers xmlns="bbcd8c33-6940-4d4c-a587-bbc736ca1e4d">
      <UserInfo>
        <DisplayName/>
        <AccountId xsi:nil="true"/>
        <AccountType/>
      </UserInfo>
    </Teachers>
    <Students xmlns="bbcd8c33-6940-4d4c-a587-bbc736ca1e4d">
      <UserInfo>
        <DisplayName/>
        <AccountId xsi:nil="true"/>
        <AccountType/>
      </UserInfo>
    </Students>
    <Student_Groups xmlns="bbcd8c33-6940-4d4c-a587-bbc736ca1e4d">
      <UserInfo>
        <DisplayName/>
        <AccountId xsi:nil="true"/>
        <AccountType/>
      </UserInfo>
    </Student_Groups>
    <Distribution_Groups xmlns="bbcd8c33-6940-4d4c-a587-bbc736ca1e4d" xsi:nil="true"/>
    <Self_Registration_Enabled0 xmlns="bbcd8c33-6940-4d4c-a587-bbc736ca1e4d" xsi:nil="true"/>
    <Has_Teacher_Only_SectionGroup xmlns="bbcd8c33-6940-4d4c-a587-bbc736ca1e4d" xsi:nil="true"/>
    <DefaultSectionNames xmlns="bbcd8c33-6940-4d4c-a587-bbc736ca1e4d" xsi:nil="true"/>
    <Invited_Students xmlns="bbcd8c33-6940-4d4c-a587-bbc736ca1e4d" xsi:nil="true"/>
    <FolderType xmlns="bbcd8c33-6940-4d4c-a587-bbc736ca1e4d" xsi:nil="true"/>
    <CultureName xmlns="bbcd8c33-6940-4d4c-a587-bbc736ca1e4d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32905C37EA9847A7207C4BBCCCD8F4" ma:contentTypeVersion="34" ma:contentTypeDescription="Create a new document." ma:contentTypeScope="" ma:versionID="2f28daba72ca6e92be87ea70ebe5bb94">
  <xsd:schema xmlns:xsd="http://www.w3.org/2001/XMLSchema" xmlns:xs="http://www.w3.org/2001/XMLSchema" xmlns:p="http://schemas.microsoft.com/office/2006/metadata/properties" xmlns:ns3="4327b14a-fe89-488e-9f6d-9658cacf372b" xmlns:ns4="bbcd8c33-6940-4d4c-a587-bbc736ca1e4d" targetNamespace="http://schemas.microsoft.com/office/2006/metadata/properties" ma:root="true" ma:fieldsID="df18e839ce2650f1975b41376e6cdb6b" ns3:_="" ns4:_="">
    <xsd:import namespace="4327b14a-fe89-488e-9f6d-9658cacf372b"/>
    <xsd:import namespace="bbcd8c33-6940-4d4c-a587-bbc736ca1e4d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NotebookType" minOccurs="0"/>
                <xsd:element ref="ns4:FolderType" minOccurs="0"/>
                <xsd:element ref="ns4:Owner" minOccurs="0"/>
                <xsd:element ref="ns4:DefaultSectionNames" minOccurs="0"/>
                <xsd:element ref="ns4:AppVersion" minOccurs="0"/>
                <xsd:element ref="ns4:Teachers" minOccurs="0"/>
                <xsd:element ref="ns4:Students" minOccurs="0"/>
                <xsd:element ref="ns4:Student_Groups" minOccurs="0"/>
                <xsd:element ref="ns4:Invited_Teachers" minOccurs="0"/>
                <xsd:element ref="ns4:Invited_Students" minOccurs="0"/>
                <xsd:element ref="ns4:Self_Registration_Enabled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Location" minOccurs="0"/>
                <xsd:element ref="ns4:CultureName" minOccurs="0"/>
                <xsd:element ref="ns4:TeamsChannelId" minOccurs="0"/>
                <xsd:element ref="ns4:Math_Settings" minOccurs="0"/>
                <xsd:element ref="ns4:Templates" minOccurs="0"/>
                <xsd:element ref="ns4:Distribution_Groups" minOccurs="0"/>
                <xsd:element ref="ns4:LMS_Mappings" minOccurs="0"/>
                <xsd:element ref="ns4:Self_Registration_Enabled0" minOccurs="0"/>
                <xsd:element ref="ns4:Has_Teacher_Only_SectionGroup" minOccurs="0"/>
                <xsd:element ref="ns4:Is_Collaboration_Space_Locked" minOccurs="0"/>
                <xsd:element ref="ns4:IsNotebookLocked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27b14a-fe89-488e-9f6d-9658cacf372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cd8c33-6940-4d4c-a587-bbc736ca1e4d" elementFormDefault="qualified">
    <xsd:import namespace="http://schemas.microsoft.com/office/2006/documentManagement/types"/>
    <xsd:import namespace="http://schemas.microsoft.com/office/infopath/2007/PartnerControls"/>
    <xsd:element name="NotebookType" ma:index="11" nillable="true" ma:displayName="Notebook Type" ma:internalName="NotebookType">
      <xsd:simpleType>
        <xsd:restriction base="dms:Text"/>
      </xsd:simpleType>
    </xsd:element>
    <xsd:element name="FolderType" ma:index="12" nillable="true" ma:displayName="Folder Type" ma:internalName="FolderType">
      <xsd:simpleType>
        <xsd:restriction base="dms:Text"/>
      </xsd:simpleType>
    </xsd:element>
    <xsd:element name="Owner" ma:index="13" nillable="true" ma:displayName="Owner" ma:internalName="Own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DefaultSectionNames" ma:index="14" nillable="true" ma:displayName="Default Section Names" ma:internalName="DefaultSectionNames">
      <xsd:simpleType>
        <xsd:restriction base="dms:Note">
          <xsd:maxLength value="255"/>
        </xsd:restriction>
      </xsd:simpleType>
    </xsd:element>
    <xsd:element name="AppVersion" ma:index="15" nillable="true" ma:displayName="App Version" ma:internalName="AppVersion">
      <xsd:simpleType>
        <xsd:restriction base="dms:Text"/>
      </xsd:simpleType>
    </xsd:element>
    <xsd:element name="Teachers" ma:index="16" nillable="true" ma:displayName="Teachers" ma:internalName="Teacher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tudents" ma:index="17" nillable="true" ma:displayName="Students" ma:internalName="Student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tudent_Groups" ma:index="18" nillable="true" ma:displayName="Student Groups" ma:internalName="Student_Group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Invited_Teachers" ma:index="19" nillable="true" ma:displayName="Invited Teachers" ma:internalName="Invited_Teachers">
      <xsd:simpleType>
        <xsd:restriction base="dms:Note">
          <xsd:maxLength value="255"/>
        </xsd:restriction>
      </xsd:simpleType>
    </xsd:element>
    <xsd:element name="Invited_Students" ma:index="20" nillable="true" ma:displayName="Invited Students" ma:internalName="Invited_Students">
      <xsd:simpleType>
        <xsd:restriction base="dms:Note">
          <xsd:maxLength value="255"/>
        </xsd:restriction>
      </xsd:simpleType>
    </xsd:element>
    <xsd:element name="Self_Registration_Enabled" ma:index="21" nillable="true" ma:displayName="Self_Registration_Enabled" ma:internalName="Self_Registration_Enabled">
      <xsd:simpleType>
        <xsd:restriction base="dms:Boolean"/>
      </xsd:simpleType>
    </xsd:element>
    <xsd:element name="MediaServiceMetadata" ma:index="2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2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2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25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2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2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29" nillable="true" ma:displayName="Location" ma:internalName="MediaServiceLocation" ma:readOnly="true">
      <xsd:simpleType>
        <xsd:restriction base="dms:Text"/>
      </xsd:simpleType>
    </xsd:element>
    <xsd:element name="CultureName" ma:index="30" nillable="true" ma:displayName="Culture Name" ma:internalName="CultureName">
      <xsd:simpleType>
        <xsd:restriction base="dms:Text"/>
      </xsd:simpleType>
    </xsd:element>
    <xsd:element name="TeamsChannelId" ma:index="31" nillable="true" ma:displayName="Teams Channel Id" ma:internalName="TeamsChannelId">
      <xsd:simpleType>
        <xsd:restriction base="dms:Text"/>
      </xsd:simpleType>
    </xsd:element>
    <xsd:element name="Math_Settings" ma:index="32" nillable="true" ma:displayName="Math Settings" ma:internalName="Math_Settings">
      <xsd:simpleType>
        <xsd:restriction base="dms:Text"/>
      </xsd:simpleType>
    </xsd:element>
    <xsd:element name="Templates" ma:index="33" nillable="true" ma:displayName="Templates" ma:internalName="Templates">
      <xsd:simpleType>
        <xsd:restriction base="dms:Note">
          <xsd:maxLength value="255"/>
        </xsd:restriction>
      </xsd:simpleType>
    </xsd:element>
    <xsd:element name="Distribution_Groups" ma:index="34" nillable="true" ma:displayName="Distribution Groups" ma:internalName="Distribution_Groups">
      <xsd:simpleType>
        <xsd:restriction base="dms:Note">
          <xsd:maxLength value="255"/>
        </xsd:restriction>
      </xsd:simpleType>
    </xsd:element>
    <xsd:element name="LMS_Mappings" ma:index="35" nillable="true" ma:displayName="LMS Mappings" ma:internalName="LMS_Mappings">
      <xsd:simpleType>
        <xsd:restriction base="dms:Note">
          <xsd:maxLength value="255"/>
        </xsd:restriction>
      </xsd:simpleType>
    </xsd:element>
    <xsd:element name="Self_Registration_Enabled0" ma:index="36" nillable="true" ma:displayName="Self Registration Enabled" ma:internalName="Self_Registration_Enabled0">
      <xsd:simpleType>
        <xsd:restriction base="dms:Boolean"/>
      </xsd:simpleType>
    </xsd:element>
    <xsd:element name="Has_Teacher_Only_SectionGroup" ma:index="37" nillable="true" ma:displayName="Has Teacher Only SectionGroup" ma:internalName="Has_Teacher_Only_SectionGroup">
      <xsd:simpleType>
        <xsd:restriction base="dms:Boolean"/>
      </xsd:simpleType>
    </xsd:element>
    <xsd:element name="Is_Collaboration_Space_Locked" ma:index="38" nillable="true" ma:displayName="Is Collaboration Space Locked" ma:internalName="Is_Collaboration_Space_Locked">
      <xsd:simpleType>
        <xsd:restriction base="dms:Boolean"/>
      </xsd:simpleType>
    </xsd:element>
    <xsd:element name="IsNotebookLocked" ma:index="39" nillable="true" ma:displayName="Is Notebook Locked" ma:internalName="IsNotebookLocked">
      <xsd:simpleType>
        <xsd:restriction base="dms:Boolean"/>
      </xsd:simpleType>
    </xsd:element>
    <xsd:element name="MediaServiceAutoKeyPoints" ma:index="4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4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B31267F-D399-4A8A-87F8-B75F56828412}">
  <ds:schemaRefs>
    <ds:schemaRef ds:uri="4327b14a-fe89-488e-9f6d-9658cacf372b"/>
    <ds:schemaRef ds:uri="http://purl.org/dc/terms/"/>
    <ds:schemaRef ds:uri="bbcd8c33-6940-4d4c-a587-bbc736ca1e4d"/>
    <ds:schemaRef ds:uri="http://purl.org/dc/dcmitype/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3BE6CAF6-1F55-4A70-B10C-21633F7498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327b14a-fe89-488e-9f6d-9658cacf372b"/>
    <ds:schemaRef ds:uri="bbcd8c33-6940-4d4c-a587-bbc736ca1e4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2481852-F24E-4532-AF30-C154D705D10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758</TotalTime>
  <Words>337</Words>
  <Application>Microsoft Office PowerPoint</Application>
  <PresentationFormat>Personalizar</PresentationFormat>
  <Paragraphs>111</Paragraphs>
  <Slides>8</Slides>
  <Notes>4</Notes>
  <HiddenSlides>2</HiddenSlides>
  <MMClips>0</MMClips>
  <ScaleCrop>false</ScaleCrop>
  <HeadingPairs>
    <vt:vector size="8" baseType="variant">
      <vt:variant>
        <vt:lpstr>Fontes usadas</vt:lpstr>
      </vt:variant>
      <vt:variant>
        <vt:i4>12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8</vt:i4>
      </vt:variant>
    </vt:vector>
  </HeadingPairs>
  <TitlesOfParts>
    <vt:vector size="24" baseType="lpstr">
      <vt:lpstr>ＭＳ Ｐゴシック</vt:lpstr>
      <vt:lpstr>Arial</vt:lpstr>
      <vt:lpstr>Calibri</vt:lpstr>
      <vt:lpstr>Exo 2</vt:lpstr>
      <vt:lpstr>Lucida Sans Unicode</vt:lpstr>
      <vt:lpstr>Simplon BP</vt:lpstr>
      <vt:lpstr>Simplon BP Bold</vt:lpstr>
      <vt:lpstr>Simplon BP Regular</vt:lpstr>
      <vt:lpstr>Simplon Oi Headline</vt:lpstr>
      <vt:lpstr>Tahoma</vt:lpstr>
      <vt:lpstr>Verdana</vt:lpstr>
      <vt:lpstr>Wingdings</vt:lpstr>
      <vt:lpstr>Capas</vt:lpstr>
      <vt:lpstr>Conteúdo</vt:lpstr>
      <vt:lpstr>Encerramento / Agradecimento</vt:lpstr>
      <vt:lpstr>Slide do think-cell</vt:lpstr>
      <vt:lpstr>Apresentação do PowerPoint</vt:lpstr>
      <vt:lpstr>Apresentação do PowerPoint</vt:lpstr>
      <vt:lpstr>Status geral – GOTravel!</vt:lpstr>
      <vt:lpstr>Apresentação do PowerPoint</vt:lpstr>
      <vt:lpstr>Apresentação do PowerPoint</vt:lpstr>
      <vt:lpstr>Exemplo 2 de Timeline para o projeto por semana</vt:lpstr>
      <vt:lpstr>Ex. ArquiteturaV1</vt:lpstr>
      <vt:lpstr>Ex. ArquiteturaV2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Christofer</cp:lastModifiedBy>
  <cp:revision>351</cp:revision>
  <cp:lastPrinted>2018-08-30T22:45:44Z</cp:lastPrinted>
  <dcterms:created xsi:type="dcterms:W3CDTF">2016-12-01T16:19:35Z</dcterms:created>
  <dcterms:modified xsi:type="dcterms:W3CDTF">2020-09-27T23:46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32905C37EA9847A7207C4BBCCCD8F4</vt:lpwstr>
  </property>
</Properties>
</file>